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58" y="17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6BDA1-4C67-C42D-AAA0-E1725A81A4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B3FBDC-C18A-F0E8-7EC1-E5EB638A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6E8C50-B9F7-A1F4-CB46-6590190D2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626AFF-A348-F703-49B0-4EE240059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F1C69B-092F-DC81-2818-0F6805BE2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02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021CE9-0F57-6886-6CC7-70FB74EA0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7DA60B-3198-DA06-70FD-1501D1C6C7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F4199C-3146-A84B-F6C1-ADECFA87C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14CE7-B947-4919-B907-DDCC29A3B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C1662B-479B-4416-5ED7-60DE9AA98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134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7217F5-0931-6FAE-CCA4-A31858843C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11D06-7BD7-C685-70A0-3A7CC49B31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2203D1-DD1C-62A5-94D5-1921654BD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F372FD-749F-A1DC-54AD-AF5422D570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BD9D-DEE9-C112-2842-880A04829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282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0FDA6-97EC-37DA-8FCC-E1F010A2E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095147-D4F9-436C-3F1F-40A6CC9D2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B84304-2629-2F17-5E9F-44D42BC3A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76BCB5-37D3-7B89-ED81-23CAF2551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5341AB-32A4-7280-83C2-D0FDA0F03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059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9BDAA-7F14-3006-7532-7C2EB83E0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26B55B-7C46-6962-CB8C-082B2046C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92248B-712C-ABE2-549B-2A4CCBE91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3AB84-B1B1-85A1-49D8-7F0DE33CF2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05ACF9-8F75-FA35-0BDD-84A7F9B2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469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41A59-AB23-682F-38B7-10018A7B6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C0904D-65F1-B6A6-C49E-97315E471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F33E21-643B-E233-D528-8BCEF5F7DB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271079-7622-0937-550E-AEE54B574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3014B8-9FDE-D059-498C-0603F4491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F40029-B954-DC18-E522-11B96FF30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26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DCD11-A6DE-ADF3-2E88-F4C024A2D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A3C2E7-319E-D9AB-3C07-5103C596A3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6EC505-0D4A-8E33-C486-6F24E26E4F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39BD1A-8FC4-0175-E600-C6D42486A7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519A64-4E70-668D-9613-556E543E94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40BEFE-ADE5-1D7E-34E4-7CCBAE1B8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1DF07E-6F39-5F44-68D1-5B0B48F89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0890686-32B3-B652-0E1C-20970917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56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48DA7-44BF-C801-9D19-1F345A2C7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E945CE-FDE6-7C4F-EB52-71D574654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AEF63A-0D2D-D76C-267D-83996B08C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F14B49-312E-7945-9E1E-EECE2DD6B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355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121D5C-7618-EF2B-E8BE-FEA823587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8D0C4A-9183-0DD1-9D10-C20025EE2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518166-C485-0F98-92C1-72F5B3BFE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631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D6583-F54C-29AE-DB7B-DB1A1DF26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E1FEE1-C069-78D3-31ED-35588103B4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D870BD-5A97-714D-5D4E-66BA8060D9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5A6A4D-1676-64A0-523F-B06EA23CA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4D0588-880D-46A7-721D-4BC5D0FBB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9F574C-D988-29E5-56AD-6C63E6604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94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89AA4-C49D-6F86-1DF6-3FB28E588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50FA030-3BB3-734D-8FCB-B09DFECCE4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085BC3-D2AA-2B1D-35E1-E39ACC2EAD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C7B8AC-8F21-150C-BE68-F12172AC0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D6BF52-F548-163C-874F-8BCA541BE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FB3DA6-406E-130A-F1FC-63566DF74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459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27C18D-CED1-AB97-2CBC-CCE764F69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CFAECB-313F-43E0-A6A2-DD0B68ED8B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173CDC-7F89-0AA9-C3E8-63A97F5C26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94EDC-A76D-4D2C-864F-D67514982A5A}" type="datetimeFigureOut">
              <a:rPr lang="en-US" smtClean="0"/>
              <a:t>8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54556D-1E22-6221-BCC9-07687A421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AFA37E-722F-50B4-F698-E50A5B3FD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3EE44-D452-43CC-BCAA-914809F68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170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Data%20Visualization.ipynb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SQL.ipynb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Folium.ipynb" TargetMode="Externa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Plotly%20Dash%20dashboard_%20spacex_dash_app.py" TargetMode="Externa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5.%20Predictive%20Analysis%20(Classification)/05.%20Predictive%20Analysis%20(Classification).ipynb" TargetMode="Externa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" Target="slide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" Target="slide7.xml"/><Relationship Id="rId2" Type="http://schemas.openxmlformats.org/officeDocument/2006/relationships/tags" Target="../tags/tag2.xml"/><Relationship Id="rId16" Type="http://schemas.openxmlformats.org/officeDocument/2006/relationships/slide" Target="slide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" Target="slide17.xml"/><Relationship Id="rId10" Type="http://schemas.openxmlformats.org/officeDocument/2006/relationships/tags" Target="../tags/tag10.xml"/><Relationship Id="rId19" Type="http://schemas.openxmlformats.org/officeDocument/2006/relationships/slide" Target="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0.png"/><Relationship Id="rId5" Type="http://schemas.openxmlformats.org/officeDocument/2006/relationships/image" Target="../media/image76.png"/><Relationship Id="rId4" Type="http://schemas.openxmlformats.org/officeDocument/2006/relationships/image" Target="../media/image7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hyperlink" Target="https://github.com/DanielBarnes18/IBM-Data-Science-Professional-Certificate/blob/main/10.%20Applied%20Data%20Science%20Capstone/01.%20Data%20Collection/01.%20Data%20Collection%20-%20API.ipynb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hyperlink" Target="https://github.com/DanielBarnes18/IBM-Data-Science-Professional-Certificate/blob/main/10.%20Applied%20Data%20Science%20Capstone/01.%20Data%20Collection/01.%20Data%20Collection%20-%20Web%20Scraping.ipynb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3C98BC7C-C042-3DA6-4002-D44EC9AADA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/>
          <a:lstStyle/>
          <a:p>
            <a:r>
              <a:rPr lang="en-GB" dirty="0"/>
              <a:t>IBM Data Science Capstone Project</a:t>
            </a:r>
            <a:endParaRPr lang="en-US" dirty="0"/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29D0C582-29D8-2F38-86BF-0637D3F2A8FF}"/>
              </a:ext>
            </a:extLst>
          </p:cNvPr>
          <p:cNvSpPr txBox="1">
            <a:spLocks/>
          </p:cNvSpPr>
          <p:nvPr/>
        </p:nvSpPr>
        <p:spPr>
          <a:xfrm>
            <a:off x="402933" y="4068324"/>
            <a:ext cx="11386134" cy="152349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pace X Falcon 9 Landing Analysi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aklan Julien Camara</a:t>
            </a:r>
          </a:p>
        </p:txBody>
      </p:sp>
    </p:spTree>
    <p:extLst>
      <p:ext uri="{BB962C8B-B14F-4D97-AF65-F5344CB8AC3E}">
        <p14:creationId xmlns:p14="http://schemas.microsoft.com/office/powerpoint/2010/main" val="3126434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chemeClr val="accent1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01B7F-8A68-FC01-D863-21DC2ADC90B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Exploratory data analysis (eda) – </a:t>
            </a:r>
            <a:r>
              <a:rPr lang="en-US">
                <a:solidFill>
                  <a:schemeClr val="accent2"/>
                </a:solidFill>
              </a:rPr>
              <a:t>visualizati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635BEB9-6E58-4B65-2CFA-8A01CAE64D47}"/>
              </a:ext>
            </a:extLst>
          </p:cNvPr>
          <p:cNvSpPr txBox="1">
            <a:spLocks/>
          </p:cNvSpPr>
          <p:nvPr/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accent2"/>
                </a:solidFill>
              </a:rPr>
              <a:t>SCATTER CHARTS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B8BCE84-F4F5-B67B-6204-844D5620018D}"/>
              </a:ext>
            </a:extLst>
          </p:cNvPr>
          <p:cNvSpPr txBox="1">
            <a:spLocks/>
          </p:cNvSpPr>
          <p:nvPr/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Scatter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Flight Number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Payload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Orbit Type and Flight Nu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Payload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93B27ED-8C3A-CE65-0EA9-42DAFD8E2047}"/>
              </a:ext>
            </a:extLst>
          </p:cNvPr>
          <p:cNvSpPr txBox="1">
            <a:spLocks/>
          </p:cNvSpPr>
          <p:nvPr/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accent2"/>
                </a:solidFill>
              </a:rPr>
              <a:t>BAR CHART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77156CB-7C84-67A2-955C-2EA6545816B0}"/>
              </a:ext>
            </a:extLst>
          </p:cNvPr>
          <p:cNvSpPr txBox="1">
            <a:spLocks/>
          </p:cNvSpPr>
          <p:nvPr/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A bar chart was produced to visualize the relationship between:</a:t>
            </a:r>
          </a:p>
          <a:p>
            <a:pPr marL="285750" indent="-285750"/>
            <a:r>
              <a:rPr lang="en-GB">
                <a:solidFill>
                  <a:schemeClr val="bg1"/>
                </a:solidFill>
              </a:rPr>
              <a:t>Success Rate and Orbit Type </a:t>
            </a:r>
          </a:p>
          <a:p>
            <a:pPr marL="285750" indent="-285750"/>
            <a:endParaRPr lang="en-GB">
              <a:solidFill>
                <a:schemeClr val="bg1"/>
              </a:solidFill>
            </a:endParaRPr>
          </a:p>
          <a:p>
            <a:pPr marL="285750" indent="-285750"/>
            <a:endParaRPr lang="en-GB">
              <a:solidFill>
                <a:schemeClr val="bg1"/>
              </a:solidFill>
            </a:endParaRPr>
          </a:p>
          <a:p>
            <a:pPr marL="285750" indent="-285750"/>
            <a:endParaRPr lang="en-GB">
              <a:solidFill>
                <a:schemeClr val="bg1"/>
              </a:solidFill>
            </a:endParaRPr>
          </a:p>
          <a:p>
            <a:pPr marL="285750" indent="-28575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7FBBB33-3C4A-B6A6-07D7-16B6B71F05AA}"/>
              </a:ext>
            </a:extLst>
          </p:cNvPr>
          <p:cNvSpPr txBox="1">
            <a:spLocks/>
          </p:cNvSpPr>
          <p:nvPr/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accent2"/>
                </a:solidFill>
              </a:rPr>
              <a:t>LINE CHARTS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4ACA-8FAA-05A3-D72F-58F2E0C57FAE}"/>
              </a:ext>
            </a:extLst>
          </p:cNvPr>
          <p:cNvSpPr txBox="1">
            <a:spLocks/>
          </p:cNvSpPr>
          <p:nvPr/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Line charts were produced to visualize the relationships between:</a:t>
            </a:r>
          </a:p>
          <a:p>
            <a:pPr marL="285750" indent="-285750"/>
            <a:r>
              <a:rPr lang="en-GB">
                <a:solidFill>
                  <a:schemeClr val="bg1"/>
                </a:solidFill>
              </a:rPr>
              <a:t>Success Rate and Year (i.e. the launch success yearly trend) </a:t>
            </a:r>
          </a:p>
          <a:p>
            <a:pPr marL="285750" indent="-285750"/>
            <a:endParaRPr lang="en-GB">
              <a:solidFill>
                <a:schemeClr val="bg1"/>
              </a:solidFill>
            </a:endParaRPr>
          </a:p>
          <a:p>
            <a:pPr marL="285750" indent="-285750"/>
            <a:endParaRPr lang="en-GB">
              <a:solidFill>
                <a:schemeClr val="bg1"/>
              </a:solidFill>
            </a:endParaRPr>
          </a:p>
          <a:p>
            <a:pPr marL="285750" indent="-285750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EFC524-F5FD-A2B1-8B7B-220CCAFB523D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0CEAD4C-A49B-AC45-982B-DC82AF9D2056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4430758-D5EB-880E-B3EB-E0C391DFB036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9E14E78-41C8-12CF-6DD1-22FCDAD5DE02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FD2A73B-F9D8-AC74-5301-791150147DA1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E58DF86-812A-BDEE-BD43-B9B6DB53B673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C555BCF-FA0A-8C2E-7380-885DD5DE63FA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0F87669-A99C-43CC-B84D-D44AE75270F5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CC64954-4A7B-2F72-B762-EAF79D3F7495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9D7246B-2B25-BEE6-ED2E-0604B0E13623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4CA745F-50E7-601D-368A-B1B7AC77AB1F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9AE179D-4E5D-F179-91D5-995ED8984BF1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187E25B0-95BA-02C8-F576-48681EA28FE7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840A424-E265-CB30-9E6B-553659FC3DF9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A40FA7A-B8C0-1797-A991-88B85807DF25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936B0BF-BCA5-7214-C50F-86D4AE743493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57DAB7-3A52-4D0D-6739-AF79E667FFD2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catter charts are useful to observe relationships, or correlations, between two numeric variable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CDF14D-0F5E-88E6-B9A6-721B8C668A71}"/>
              </a:ext>
            </a:extLst>
          </p:cNvPr>
          <p:cNvSpPr txBox="1"/>
          <p:nvPr/>
        </p:nvSpPr>
        <p:spPr>
          <a:xfrm>
            <a:off x="4322536" y="5355213"/>
            <a:ext cx="345643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0EA25C-2C0D-CF33-8B2E-8367F7933AA0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Line charts contain numerical values on both axes, and are generally used to show the change of a variable over time.</a:t>
            </a:r>
          </a:p>
        </p:txBody>
      </p:sp>
    </p:spTree>
    <p:extLst>
      <p:ext uri="{BB962C8B-B14F-4D97-AF65-F5344CB8AC3E}">
        <p14:creationId xmlns:p14="http://schemas.microsoft.com/office/powerpoint/2010/main" val="627819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6C68D4-D0D0-723F-5A7E-BEBEBFC8B99B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xploratory data analysis (eda) – </a:t>
            </a:r>
            <a:r>
              <a:rPr lang="en-US">
                <a:solidFill>
                  <a:schemeClr val="accent2"/>
                </a:solidFill>
              </a:rPr>
              <a:t>sql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7F3D4B-08B8-BF9B-4215-52C30A4326E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</a:rPr>
              <a:t>To gather some information about the dataset, some SQL queries were performed. </a:t>
            </a:r>
          </a:p>
          <a:p>
            <a:endParaRPr lang="en-GB" sz="1600"/>
          </a:p>
          <a:p>
            <a:r>
              <a:rPr lang="en-GB" sz="1600"/>
              <a:t>The SQL queries performed on the data set were used to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Display the names of the unique launch sites in the space mi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Display 5 records where launch sites begin with the string ‘CCA’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Display the total payload mass carried by boosters launched by NASA (CRS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Display the average payload mass carried by booster version F9 v1.1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List the date when the first successful landing outcome on a ground pad was achieve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List the names of the boosters which had success on a drone ship and a payload mass between 4000 and 6000 k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List the total number of successful and failed mission outcom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List the names of the booster versions which have carried the maximum payload mas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List the failed landing outcomes on drone ships, their booster versions, and launch site names for 2015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Rank the count of landing outcomes (such as Failure (drone ship) or Success (ground pad)) between the date 2010-06-04 and 2017-03-20, in descending order</a:t>
            </a:r>
          </a:p>
          <a:p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7D0C50-11FE-90EC-A1D2-F42C9314BA3C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908556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FD29F-E6E8-4EA5-038D-E767BF5727E2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Geospatial analysis – </a:t>
            </a:r>
            <a:r>
              <a:rPr lang="en-US">
                <a:solidFill>
                  <a:schemeClr val="accent2"/>
                </a:solidFill>
              </a:rPr>
              <a:t>folium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8CFE13-9D0B-DBC2-7E91-EA0578FFC818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</a:rPr>
              <a:t>The following steps were taken to visualize the launch data on an interactive map:</a:t>
            </a:r>
          </a:p>
          <a:p>
            <a:endParaRPr lang="en-GB" sz="1600"/>
          </a:p>
          <a:p>
            <a:pPr marL="457200" indent="-457200">
              <a:buFont typeface="+mj-lt"/>
              <a:buAutoNum type="arabicPeriod"/>
            </a:pPr>
            <a:r>
              <a:rPr lang="en-GB" sz="1800"/>
              <a:t>Mark all launch sites on a map</a:t>
            </a:r>
          </a:p>
          <a:p>
            <a:pPr marL="647700" lvl="2" indent="-285750"/>
            <a:r>
              <a:rPr lang="en-GB" sz="1200"/>
              <a:t>Initialise the map using a Folium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Map</a:t>
            </a:r>
            <a:r>
              <a:rPr lang="en-GB" sz="1200"/>
              <a:t> object</a:t>
            </a:r>
          </a:p>
          <a:p>
            <a:pPr marL="647700" lvl="2" indent="-285750"/>
            <a:r>
              <a:rPr lang="en-GB" sz="1200"/>
              <a:t>Add a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olium.Circle</a:t>
            </a:r>
            <a:r>
              <a:rPr lang="en-GB" sz="1200"/>
              <a:t> and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/>
              <a:t> for each launch site on the launch map</a:t>
            </a:r>
          </a:p>
          <a:p>
            <a:pPr lvl="2"/>
            <a:endParaRPr lang="en-GB" sz="1200"/>
          </a:p>
          <a:p>
            <a:pPr marL="457200" indent="-457200">
              <a:buFont typeface="+mj-lt"/>
              <a:buAutoNum type="arabicPeriod"/>
            </a:pPr>
            <a:r>
              <a:rPr lang="en-GB" sz="1800"/>
              <a:t>Mark the success/failed launches for each site on a map</a:t>
            </a:r>
          </a:p>
          <a:p>
            <a:pPr marL="647700" lvl="2" indent="-285750"/>
            <a:r>
              <a:rPr lang="en-GB" sz="1200"/>
              <a:t>As many launches have the same coordinates, it makes sense to cluster them together. </a:t>
            </a:r>
          </a:p>
          <a:p>
            <a:pPr marL="647700" lvl="2" indent="-285750"/>
            <a:r>
              <a:rPr lang="en-GB" sz="1200"/>
              <a:t>Before clustering them, assign a marker colour of successful (class = 1) as green, and failed (class = 0) as red.</a:t>
            </a:r>
          </a:p>
          <a:p>
            <a:pPr marL="647700" lvl="2" indent="-285750"/>
            <a:r>
              <a:rPr lang="en-GB" sz="1200"/>
              <a:t>To put the launches into clusters, for each launch, add a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/>
              <a:t> to the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MarkerCluster()</a:t>
            </a:r>
            <a:r>
              <a:rPr lang="en-GB" sz="1200"/>
              <a:t> object.</a:t>
            </a:r>
          </a:p>
          <a:p>
            <a:pPr marL="647700" lvl="2" indent="-285750"/>
            <a:r>
              <a:rPr lang="en-GB" sz="1200"/>
              <a:t>Create an icon as a text label, assigning the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icon_color </a:t>
            </a:r>
            <a:r>
              <a:rPr lang="en-GB" sz="1200"/>
              <a:t>as the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marker_colour</a:t>
            </a:r>
            <a:r>
              <a:rPr lang="en-GB" sz="1200"/>
              <a:t> determined previously.</a:t>
            </a:r>
          </a:p>
          <a:p>
            <a:pPr lvl="2"/>
            <a:endParaRPr lang="en-GB" sz="1200"/>
          </a:p>
          <a:p>
            <a:pPr marL="457200" indent="-457200">
              <a:buFont typeface="+mj-lt"/>
              <a:buAutoNum type="arabicPeriod"/>
            </a:pPr>
            <a:r>
              <a:rPr lang="en-GB" sz="1800"/>
              <a:t>Calculate the distances between a launch site to its proximities</a:t>
            </a:r>
          </a:p>
          <a:p>
            <a:pPr marL="647700" lvl="2" indent="-285750"/>
            <a:r>
              <a:rPr lang="en-GB" sz="1200"/>
              <a:t>To explore the proximities of launch sites, calculations of distances between points can be made using the </a:t>
            </a:r>
            <a:r>
              <a:rPr lang="en-GB" sz="120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/>
              <a:t> and </a:t>
            </a:r>
            <a:r>
              <a:rPr lang="en-GB" sz="120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/>
              <a:t> values.</a:t>
            </a:r>
          </a:p>
          <a:p>
            <a:pPr marL="647700" lvl="2" indent="-285750"/>
            <a:r>
              <a:rPr lang="en-GB" sz="1200"/>
              <a:t>After marking a point using the </a:t>
            </a:r>
            <a:r>
              <a:rPr lang="en-GB" sz="120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/>
              <a:t> and </a:t>
            </a:r>
            <a:r>
              <a:rPr lang="en-GB" sz="120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/>
              <a:t> values, create a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/>
              <a:t> object to show the distance.</a:t>
            </a:r>
          </a:p>
          <a:p>
            <a:pPr marL="647700" lvl="2" indent="-285750"/>
            <a:r>
              <a:rPr lang="en-GB" sz="1200"/>
              <a:t>To display the distance line between two points, draw a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olium.PolyLine</a:t>
            </a:r>
            <a:r>
              <a:rPr lang="en-GB" sz="1200"/>
              <a:t> and add this to the map.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7BCDE4-7515-9B85-57AF-5CD6D865E62F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571763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04DB8-4622-2412-CA07-9BB087CD00E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teractive dashboard – </a:t>
            </a:r>
            <a:r>
              <a:rPr lang="en-US">
                <a:solidFill>
                  <a:schemeClr val="accent2"/>
                </a:solidFill>
              </a:rPr>
              <a:t>plotly dash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C9B84-0442-A6EE-BF15-54E34482FB2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</a:rPr>
              <a:t>The following plots were added to a Plotly Dash dashboard to have an interactive visualisation of the data:</a:t>
            </a:r>
          </a:p>
          <a:p>
            <a:endParaRPr lang="en-GB"/>
          </a:p>
          <a:p>
            <a:pPr marL="457200" indent="-457200">
              <a:buFont typeface="+mj-lt"/>
              <a:buAutoNum type="arabicPeriod"/>
            </a:pPr>
            <a:r>
              <a:rPr lang="en-GB"/>
              <a:t>Pie chart (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px.pie()</a:t>
            </a:r>
            <a:r>
              <a:rPr lang="en-GB"/>
              <a:t>) showing the total successful launches per site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/>
              <a:t>This makes it clear to see which sites are most successful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/>
              <a:t>The chart could also be filtered (using a </a:t>
            </a:r>
            <a:r>
              <a:rPr lang="en-GB" sz="2000">
                <a:solidFill>
                  <a:srgbClr val="61AFEF"/>
                </a:solidFill>
                <a:latin typeface="Consolas" panose="020B0609020204030204" pitchFamily="49" charset="0"/>
              </a:rPr>
              <a:t>dcc.Dropdown()</a:t>
            </a:r>
            <a:r>
              <a:rPr lang="en-GB"/>
              <a:t> object) to see the success/failure ratio for an individual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endParaRPr lang="en-GB"/>
          </a:p>
          <a:p>
            <a:pPr marL="457200" indent="-457200">
              <a:buFont typeface="+mj-lt"/>
              <a:buAutoNum type="arabicPeriod"/>
            </a:pPr>
            <a:r>
              <a:rPr lang="en-GB"/>
              <a:t>Scatter graph (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px.scatter()</a:t>
            </a:r>
            <a:r>
              <a:rPr lang="en-GB"/>
              <a:t>) to show the correlation between outcome (success or not) and payload mass (kg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/>
              <a:t>This could be filtered (using a </a:t>
            </a:r>
            <a:r>
              <a:rPr lang="en-GB" sz="2000">
                <a:solidFill>
                  <a:srgbClr val="61AFEF"/>
                </a:solidFill>
                <a:latin typeface="Consolas" panose="020B0609020204030204" pitchFamily="49" charset="0"/>
              </a:rPr>
              <a:t>RangeSlider()</a:t>
            </a:r>
            <a:r>
              <a:rPr lang="en-GB">
                <a:solidFill>
                  <a:schemeClr val="accent2"/>
                </a:solidFill>
              </a:rPr>
              <a:t> </a:t>
            </a:r>
            <a:r>
              <a:rPr lang="en-GB"/>
              <a:t>object) by ranges of payload masse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/>
              <a:t>It could also be filtered by booster version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6E350D-D97D-109C-A087-3F57282697BB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231217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C3497F0-2516-DAA1-E354-DC0EC6D21684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</a:rPr>
              <a:t>The following steps were taking to develop, evaluate, and find the best performing classification model: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5A5474B-23FC-7BBF-454C-5669676743E1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edictive Analysis - </a:t>
            </a:r>
            <a:r>
              <a:rPr lang="en-US">
                <a:solidFill>
                  <a:schemeClr val="accent2"/>
                </a:solidFill>
              </a:rPr>
              <a:t>Classificati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A27188-E175-5008-4B19-E02E264E2733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/>
              </a:rPr>
              <a:t>GitHub Link</a:t>
            </a:r>
            <a:endParaRPr lang="en-GB" sz="1000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50EC861-898B-8E1F-0538-D3CAC59711AC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Model Developmen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24ED56A-D012-D261-D081-6F7AF9B1CAFA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Split data into training and test data sets, using </a:t>
            </a:r>
            <a:r>
              <a:rPr lang="en-GB" sz="12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/>
              <a:t> object and a 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Use the training data set to train the model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1C6AD64-D6F4-1BD6-F4F8-592975E2B332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Model Evalu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03C8680-385E-0320-0FE2-6334BA14636A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Using the output GridSearchCV object:</a:t>
            </a:r>
          </a:p>
          <a:p>
            <a:pPr marL="647700" lvl="2" indent="-285750"/>
            <a:r>
              <a:rPr lang="en-GB" sz="1000" dirty="0">
                <a:solidFill>
                  <a:schemeClr val="bg1"/>
                </a:solidFill>
              </a:rPr>
              <a:t>Check the tuned hyperparameters (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000" dirty="0">
                <a:solidFill>
                  <a:srgbClr val="61AFEF"/>
                </a:solidFill>
              </a:rPr>
              <a:t>_</a:t>
            </a:r>
            <a:r>
              <a:rPr lang="en-GB" sz="1000" dirty="0">
                <a:solidFill>
                  <a:schemeClr val="bg1"/>
                </a:solidFill>
              </a:rPr>
              <a:t>)</a:t>
            </a:r>
          </a:p>
          <a:p>
            <a:pPr marL="647700" lvl="2" indent="-285750"/>
            <a:r>
              <a:rPr lang="en-GB" sz="1000" dirty="0">
                <a:solidFill>
                  <a:schemeClr val="bg1"/>
                </a:solidFill>
              </a:rPr>
              <a:t>Check the accuracy (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000" dirty="0">
                <a:solidFill>
                  <a:schemeClr val="bg1"/>
                </a:solidFill>
              </a:rPr>
              <a:t>and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_</a:t>
            </a:r>
            <a:r>
              <a:rPr lang="en-GB" sz="1000" dirty="0">
                <a:solidFill>
                  <a:schemeClr val="bg1"/>
                </a:solidFill>
              </a:rPr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Plot and examine the Confusion Matrix</a:t>
            </a: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B2C6600-8A01-DB4F-E4C9-A504CD11B6FF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Finding the Best Classification Mod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8603804-8594-1906-DD1B-34EDEE6D574C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he model with the highest accuracy score is determined as the best performing model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6BAA876D-3026-6114-2CB0-4D03A33EC690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38A57BA3-15A2-0C60-1795-784A345AA53F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1B5F8A-6AE7-215A-9BDC-4D618C647313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03C06AF-14A7-BE77-073A-4B9F8490DD1D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5B0428F-2258-6481-0818-826A42AA4C84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3889D6-5664-8D1F-9006-3CF03FCC2E32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CE69DA5-463C-4E32-9BDF-2BE28DA80EA9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D87862-6C50-3C7F-912E-39984E4DC5BD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4D6D0FA-733F-8E98-3C75-1E71E6C46A79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0" name="Graphic 31" descr="Trophy with solid fill">
            <a:extLst>
              <a:ext uri="{FF2B5EF4-FFF2-40B4-BE49-F238E27FC236}">
                <a16:creationId xmlns:a16="http://schemas.microsoft.com/office/drawing/2014/main" id="{6937D9AF-5CB5-36A7-B7AE-CE0E8B39FD58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chemeClr val="accent2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21" name="Graphic 34" descr="Gears with solid fill">
            <a:extLst>
              <a:ext uri="{FF2B5EF4-FFF2-40B4-BE49-F238E27FC236}">
                <a16:creationId xmlns:a16="http://schemas.microsoft.com/office/drawing/2014/main" id="{E5FEB135-6667-DCE1-C0EF-22F9B042AAE5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chemeClr val="accent2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775FDC5-13AB-C5E0-465A-6643202DA526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40A445F-004A-0876-476B-D6D57F7288ED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24938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5">
            <a:extLst>
              <a:ext uri="{FF2B5EF4-FFF2-40B4-BE49-F238E27FC236}">
                <a16:creationId xmlns:a16="http://schemas.microsoft.com/office/drawing/2014/main" id="{3805E3E2-A123-A786-DE00-49AF04F9C0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85" b="2785"/>
          <a:stretch>
            <a:fillRect/>
          </a:stretch>
        </p:blipFill>
        <p:spPr>
          <a:xfrm>
            <a:off x="5303838" y="0"/>
            <a:ext cx="6888162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8E36B69-AB10-A213-6453-4AD3D474ED74}"/>
              </a:ext>
            </a:extLst>
          </p:cNvPr>
          <p:cNvSpPr txBox="1">
            <a:spLocks/>
          </p:cNvSpPr>
          <p:nvPr/>
        </p:nvSpPr>
        <p:spPr>
          <a:xfrm>
            <a:off x="624040" y="980728"/>
            <a:ext cx="4104382" cy="74789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5400"/>
              <a:t>results</a:t>
            </a:r>
            <a:r>
              <a:rPr lang="en-GB"/>
              <a:t> 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" name="Rectangle: Diagonal Corners Snipped 3">
            <a:extLst>
              <a:ext uri="{FF2B5EF4-FFF2-40B4-BE49-F238E27FC236}">
                <a16:creationId xmlns:a16="http://schemas.microsoft.com/office/drawing/2014/main" id="{EA66FC80-33B8-E63F-A446-E9BA3B7D226F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5" name="Rectangle: Diagonal Corners Snipped 4">
            <a:extLst>
              <a:ext uri="{FF2B5EF4-FFF2-40B4-BE49-F238E27FC236}">
                <a16:creationId xmlns:a16="http://schemas.microsoft.com/office/drawing/2014/main" id="{842F30AC-9FD9-9BBD-0F99-106A85BEA815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F94E8DAD-6BB0-5F6F-80BB-B3DB5C734DA9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6591435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FDF98-49B2-64EA-940A-B0DB9B4D57CA}"/>
              </a:ext>
            </a:extLst>
          </p:cNvPr>
          <p:cNvSpPr txBox="1">
            <a:spLocks/>
          </p:cNvSpPr>
          <p:nvPr/>
        </p:nvSpPr>
        <p:spPr>
          <a:xfrm>
            <a:off x="402933" y="2921169"/>
            <a:ext cx="11386134" cy="1015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DA - </a:t>
            </a:r>
            <a:r>
              <a:rPr lang="en-GB">
                <a:solidFill>
                  <a:schemeClr val="accent2"/>
                </a:solidFill>
              </a:rPr>
              <a:t>WITH VISUALIZ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772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19D42-448A-202A-61F6-2F946B7A58F5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Launch Sit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74BAAC-C07F-D316-475A-1000E42E1754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691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s the number of flights increases, the rate of success at a launch site incre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Most of the early flights (flight numbers &lt; 30) were launched from CCAFS SLC 40, and were generally unsuccessfu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No early flights were launched from KSC LC 39A, so the launches from this site are more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bove a flight number of around 30, there are significantly more successful landings (Class = 1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endParaRPr lang="en-GB" sz="1600" dirty="0"/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EB0CE714-EE36-39AA-D978-CFE5E718E4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800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448883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59B428-79C3-C9F3-5893-6CFE1860A29D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LAUNCH SITE vs.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8F6DCD-69E0-D031-811D-4F5ACFDEBBE6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323035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The scatter plot of Launch Sit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bove a payload mass of around 7000 kg, there are very few unsuccessful landings, but there is also far less data for these heavier launc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here is no clear correlation between payload mass and success rate for a given launch si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ll sites launched a variety of payload masses, with most of the launches from CCAFS SLC 40 being comparatively lighter payloads (with some outliers).</a:t>
            </a:r>
            <a:endParaRPr lang="en-GB" sz="1600" dirty="0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69283D99-28EA-5684-8D2D-A5CDEA70A5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8020937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C44A3-5C61-4A10-2AA7-F913789C25A1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Success Rate vs. Orbit Typ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16720-40ED-0B5F-C04F-B4CC741868E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683075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The bar chart of Success Rate vs. Orbit Type shows that the following orbits have the highest (100%) success 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ES-L1 (Earth-Sun First Lagrangian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GEO (Geostationary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HEO (High Earth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SO (Sun-synchronous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r>
              <a:rPr lang="en-GB" sz="1600"/>
              <a:t>The orbit with the lowest (0%) success rate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SO (Heliocentric Orbit)</a:t>
            </a:r>
            <a:endParaRPr lang="en-GB" sz="1600" dirty="0"/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99369DF5-0B67-FE58-03E6-0D32C7085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1457693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718924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AABA58CE-6E6A-53F5-ECFA-21C4C84C39B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36816" y="501022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18" name="Rectangle 17">
            <a:hlinkClick r:id="" action="ppaction://noaction"/>
            <a:extLst>
              <a:ext uri="{FF2B5EF4-FFF2-40B4-BE49-F238E27FC236}">
                <a16:creationId xmlns:a16="http://schemas.microsoft.com/office/drawing/2014/main" id="{15FBDD3E-C0C2-1CA3-28AA-B84ABED88C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49416" y="501022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6</a:t>
            </a:r>
          </a:p>
        </p:txBody>
      </p:sp>
      <p:sp>
        <p:nvSpPr>
          <p:cNvPr id="19" name="Rectangle 18">
            <a:hlinkClick r:id="rId15" action="ppaction://hlinksldjump"/>
            <a:extLst>
              <a:ext uri="{FF2B5EF4-FFF2-40B4-BE49-F238E27FC236}">
                <a16:creationId xmlns:a16="http://schemas.microsoft.com/office/drawing/2014/main" id="{0BD94671-A970-998A-B6C3-D86C0E04D6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36816" y="4450397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Conclusions</a:t>
            </a:r>
          </a:p>
        </p:txBody>
      </p:sp>
      <p:sp>
        <p:nvSpPr>
          <p:cNvPr id="20" name="Rectangle 19">
            <a:hlinkClick r:id="rId15" action="ppaction://hlinksldjump"/>
            <a:extLst>
              <a:ext uri="{FF2B5EF4-FFF2-40B4-BE49-F238E27FC236}">
                <a16:creationId xmlns:a16="http://schemas.microsoft.com/office/drawing/2014/main" id="{537FB525-E175-8D14-C732-BB07054342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9416" y="4450397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5</a:t>
            </a:r>
          </a:p>
        </p:txBody>
      </p:sp>
      <p:sp>
        <p:nvSpPr>
          <p:cNvPr id="21" name="Rectangle 20">
            <a:hlinkClick r:id="rId16" action="ppaction://hlinksldjump"/>
            <a:extLst>
              <a:ext uri="{FF2B5EF4-FFF2-40B4-BE49-F238E27FC236}">
                <a16:creationId xmlns:a16="http://schemas.microsoft.com/office/drawing/2014/main" id="{211BFCF2-86F2-BAC7-3DFC-19E81EA37EE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36816" y="3890565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22" name="Rectangle 21">
            <a:hlinkClick r:id="rId16" action="ppaction://hlinksldjump"/>
            <a:extLst>
              <a:ext uri="{FF2B5EF4-FFF2-40B4-BE49-F238E27FC236}">
                <a16:creationId xmlns:a16="http://schemas.microsoft.com/office/drawing/2014/main" id="{005DB9DC-EB81-3C53-27D4-06FAE5EEF4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9416" y="3890565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4</a:t>
            </a:r>
          </a:p>
        </p:txBody>
      </p:sp>
      <p:sp>
        <p:nvSpPr>
          <p:cNvPr id="23" name="Rectangle 22">
            <a:hlinkClick r:id="rId17" action="ppaction://hlinksldjump"/>
            <a:extLst>
              <a:ext uri="{FF2B5EF4-FFF2-40B4-BE49-F238E27FC236}">
                <a16:creationId xmlns:a16="http://schemas.microsoft.com/office/drawing/2014/main" id="{96D285AB-3392-A0D6-8E7F-3A5A35F47A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36816" y="3330733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24" name="Rectangle 23">
            <a:hlinkClick r:id="rId17" action="ppaction://hlinksldjump"/>
            <a:extLst>
              <a:ext uri="{FF2B5EF4-FFF2-40B4-BE49-F238E27FC236}">
                <a16:creationId xmlns:a16="http://schemas.microsoft.com/office/drawing/2014/main" id="{D5B1BB3F-56AD-035A-F3CF-99E714CC587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49416" y="3330733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25" name="Rectangle 24">
            <a:hlinkClick r:id="rId18" action="ppaction://hlinksldjump"/>
            <a:extLst>
              <a:ext uri="{FF2B5EF4-FFF2-40B4-BE49-F238E27FC236}">
                <a16:creationId xmlns:a16="http://schemas.microsoft.com/office/drawing/2014/main" id="{E5612E82-FFA7-B62F-D488-3364449C533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36816" y="2770901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26" name="Rectangle 25">
            <a:hlinkClick r:id="rId18" action="ppaction://hlinksldjump"/>
            <a:extLst>
              <a:ext uri="{FF2B5EF4-FFF2-40B4-BE49-F238E27FC236}">
                <a16:creationId xmlns:a16="http://schemas.microsoft.com/office/drawing/2014/main" id="{140FCA34-C7BF-7DF4-F074-CE3D8CF0144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49416" y="2770901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27" name="Rectangle 26">
            <a:hlinkClick r:id="rId19" action="ppaction://hlinksldjump"/>
            <a:extLst>
              <a:ext uri="{FF2B5EF4-FFF2-40B4-BE49-F238E27FC236}">
                <a16:creationId xmlns:a16="http://schemas.microsoft.com/office/drawing/2014/main" id="{F6BC856F-D15C-CFA1-3CFD-22DAF8B139B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36816" y="221106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28" name="Rectangle 27">
            <a:hlinkClick r:id="rId19" action="ppaction://hlinksldjump"/>
            <a:extLst>
              <a:ext uri="{FF2B5EF4-FFF2-40B4-BE49-F238E27FC236}">
                <a16:creationId xmlns:a16="http://schemas.microsoft.com/office/drawing/2014/main" id="{AC1E9B5B-D4BF-EBB6-B959-23FCED3C2CC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9416" y="221106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1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64E624D-09C7-4586-EA61-523B3EB3397B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646860" y="627910"/>
            <a:ext cx="10947772" cy="716711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24218186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3282D-2C7C-5814-709C-36052DCCB26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rbit Typ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8A2F30-1013-1D20-4CBA-69FFC8C01FE0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61106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This scatter plot of Orbit Type vs. Flight number shows a few useful things that the previous plots did not,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he 100% success rate of GEO, HEO, and ES-L1 orbits can be explained by only having 1 flight into the respective orbi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he 100% success rate in SSO is more impressive, with 5 successful fligh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here is little relationship between Flight Number and Success Rate for G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endParaRPr lang="en-GB" sz="1600" dirty="0"/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6DEB0B1D-1E3E-FC6A-1141-333ED72CBA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00" y="1447800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458392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2DA24-312F-754B-C0DE-43D54BE2805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RBIT TYPE VS.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977D48-3071-1012-91F9-02020DDC40ED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827091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This scatter plot of Orbit Typ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The following orbit types have more success with heavy payloads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/>
              <a:t>PO (although the number of data points is small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/>
              <a:t>IS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/>
              <a:t>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For GTO, the relationship between payload mass and success rate is uncl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VLEO (Very Low Earth Orbit) launches are associated with heavier payloads, which makes intuitive se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endParaRPr lang="en-GB" sz="1600" dirty="0"/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4008EC4D-1E5C-A48E-02D5-2A98A5DE98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441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748486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987FC-90B3-96D3-38CE-68822FFF89A0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Launch Success Yearly Tr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4F82F4-880A-69A9-3C28-E1F81A65A46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259139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The line chart of yearly average success rate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Between 2010 and 2013, all landings were unsuccessful (as the success rate is 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fter 2013, the success rate generally increased, despite small dips in 2018 and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After 2016, there was always a greater than 50% chance of success.</a:t>
            </a:r>
            <a:endParaRPr lang="en-GB" sz="1600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356FE029-6952-AD52-A5C1-2FCD5DEBFE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5815084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9FE4A-15E7-BD90-8615-4664CFB3502F}"/>
              </a:ext>
            </a:extLst>
          </p:cNvPr>
          <p:cNvSpPr txBox="1">
            <a:spLocks/>
          </p:cNvSpPr>
          <p:nvPr/>
        </p:nvSpPr>
        <p:spPr>
          <a:xfrm>
            <a:off x="402933" y="2921169"/>
            <a:ext cx="11386134" cy="1015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DA - </a:t>
            </a:r>
            <a:r>
              <a:rPr lang="en-GB">
                <a:solidFill>
                  <a:schemeClr val="accent2"/>
                </a:solidFill>
              </a:rPr>
              <a:t>WITH SQL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812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FCB3BF-E67B-2616-C287-F7EE8CE39F47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ll Launch Site Nam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67CB18-1A15-9AFF-779F-6A7AC64B467E}"/>
              </a:ext>
            </a:extLst>
          </p:cNvPr>
          <p:cNvSpPr txBox="1">
            <a:spLocks/>
          </p:cNvSpPr>
          <p:nvPr/>
        </p:nvSpPr>
        <p:spPr>
          <a:xfrm>
            <a:off x="404814" y="1447800"/>
            <a:ext cx="11382374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Find the names of the unique launch sites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word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UNIQUE</a:t>
            </a:r>
            <a:r>
              <a:rPr lang="en-GB"/>
              <a:t> returns only unique values from the </a:t>
            </a:r>
            <a:r>
              <a:rPr lang="en-GB">
                <a:solidFill>
                  <a:srgbClr val="D69D68"/>
                </a:solidFill>
                <a:latin typeface="Consolas" panose="020B0609020204030204" pitchFamily="49" charset="0"/>
              </a:rPr>
              <a:t>LAUNCH_SITE</a:t>
            </a:r>
            <a:r>
              <a:rPr lang="en-GB"/>
              <a:t> column of the </a:t>
            </a:r>
            <a:r>
              <a:rPr lang="en-GB">
                <a:solidFill>
                  <a:srgbClr val="D69D68"/>
                </a:solidFill>
                <a:latin typeface="Consolas" panose="020B0609020204030204" pitchFamily="49" charset="0"/>
              </a:rPr>
              <a:t>SPACEXTBL</a:t>
            </a:r>
            <a:r>
              <a:rPr lang="en-GB"/>
              <a:t> table.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331F79-0BD0-1190-83AD-5D0A1FDDF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6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9BF4F570-DC0E-4A2D-ACFC-0FE9B173CA85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CD3DFE8-8096-AF0C-26A3-52CF7F30B9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50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072162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81B35-DEF0-B695-1E55-75500D11816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Launch Site Names Begin with 'CCA'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8CA711-3581-8C8D-5475-B9A271344534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Find 5 records where launch sites begin with ‘CCA’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LIMIT 5</a:t>
            </a:r>
            <a:r>
              <a:rPr lang="en-GB"/>
              <a:t> fetches only 5 records, and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LIKE</a:t>
            </a:r>
            <a:r>
              <a:rPr lang="en-GB"/>
              <a:t> keyword is used with the wild card </a:t>
            </a:r>
            <a:r>
              <a:rPr lang="en-GB">
                <a:solidFill>
                  <a:srgbClr val="789865"/>
                </a:solidFill>
                <a:latin typeface="Consolas" panose="020B0609020204030204" pitchFamily="49" charset="0"/>
              </a:rPr>
              <a:t>‘CCA%’</a:t>
            </a:r>
            <a:r>
              <a:rPr lang="en-GB"/>
              <a:t> to retrieve string values beginning with ‘CCA’. </a:t>
            </a:r>
          </a:p>
          <a:p>
            <a:endParaRPr lang="en-GB" dirty="0"/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C6338EA-B767-988D-238F-02AF77E8F4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560726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42A0935-9AF6-FE8E-0E0E-B55F0CC02A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9717" y="2276315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C5EA7410-BB9A-66EC-61E2-4E7D0D6A3224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967116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84BB5-900E-6BF8-43D2-320D05EBBE3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otal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81DED7-8A10-C992-EC3D-2D00C08C1ACD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alculate the total payload carried by boosters from NASA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/>
              <a:t> keyword is used to calculate the total of the </a:t>
            </a:r>
            <a:r>
              <a:rPr lang="en-GB">
                <a:solidFill>
                  <a:srgbClr val="D69D68"/>
                </a:solidFill>
                <a:latin typeface="Consolas" panose="020B0609020204030204" pitchFamily="49" charset="0"/>
              </a:rPr>
              <a:t>LAUNCH</a:t>
            </a:r>
            <a:r>
              <a:rPr lang="en-GB"/>
              <a:t> column, and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/>
              <a:t> keyword (and the associated condition) filters the results to only boosters from NASA (CRS)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 dirty="0"/>
          </a:p>
        </p:txBody>
      </p:sp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1FA1E926-4EF7-E76B-C1CF-A4F7157F3A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70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509D31-2149-CC61-5A8F-5EB6224679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997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E57557B1-9984-AF65-2424-7E3D1E7BD31D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41577595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8B1B7B-1404-F800-9680-E66A29033B62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verage Payload Mass by F9 v1.1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9DA9FB-1FFB-DF89-4A3C-8236F160E668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alculate the average payload mass carried by booster version F9 v1.1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AVG</a:t>
            </a:r>
            <a:r>
              <a:rPr lang="en-GB"/>
              <a:t> keyword is used to calculate the average of the </a:t>
            </a:r>
            <a:r>
              <a:rPr lang="en-GB">
                <a:solidFill>
                  <a:srgbClr val="D69D68"/>
                </a:solidFill>
                <a:latin typeface="Consolas" panose="020B0609020204030204" pitchFamily="49" charset="0"/>
              </a:rPr>
              <a:t>PAYLOAD_MASS__KG_</a:t>
            </a:r>
            <a:r>
              <a:rPr lang="en-GB">
                <a:solidFill>
                  <a:srgbClr val="D69D68"/>
                </a:solidFill>
                <a:latin typeface="+mj-lt"/>
              </a:rPr>
              <a:t> </a:t>
            </a:r>
            <a:r>
              <a:rPr lang="en-GB"/>
              <a:t>column, and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>
                <a:solidFill>
                  <a:srgbClr val="61AFEF"/>
                </a:solidFill>
              </a:rPr>
              <a:t> </a:t>
            </a:r>
            <a:r>
              <a:rPr lang="en-GB"/>
              <a:t>keyword (and the associated condition) filters the results to only the F9 v1.1 booster version.</a:t>
            </a:r>
          </a:p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106BF8-A25B-4393-5457-FB1B56F8E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4161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44E2F06-43C8-8D9D-165E-1B46C66DA3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60E90842-B563-714D-CB88-9EDA415BE5E7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0101254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9553CB-6738-4E47-13C0-DB90E26CD42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FIRST SUCCESSFUL GROUND LANDING DA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AEC921-EAA7-CD40-98B3-02ACDC4A8252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Find the dates of the first successful landing outcome on ground pad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MIN</a:t>
            </a:r>
            <a:r>
              <a:rPr lang="en-GB"/>
              <a:t> keyword is used to calculate the minimum of the </a:t>
            </a:r>
            <a:r>
              <a:rPr lang="en-GB">
                <a:solidFill>
                  <a:srgbClr val="D69D68"/>
                </a:solidFill>
                <a:latin typeface="Consolas" panose="020B0609020204030204" pitchFamily="49" charset="0"/>
              </a:rPr>
              <a:t>DATE</a:t>
            </a:r>
            <a:r>
              <a:rPr lang="en-GB">
                <a:solidFill>
                  <a:srgbClr val="D69D68"/>
                </a:solidFill>
              </a:rPr>
              <a:t> </a:t>
            </a:r>
            <a:r>
              <a:rPr lang="en-GB"/>
              <a:t>column, i.e. the first date, and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>
                <a:solidFill>
                  <a:srgbClr val="61AFEF"/>
                </a:solidFill>
              </a:rPr>
              <a:t> </a:t>
            </a:r>
            <a:r>
              <a:rPr lang="en-GB"/>
              <a:t>keyword (and the associated condition) filters the results to only the successful ground pad landings.</a:t>
            </a:r>
          </a:p>
          <a:p>
            <a:endParaRPr lang="en-GB" dirty="0"/>
          </a:p>
        </p:txBody>
      </p:sp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ADBFAAC-7DB4-7D1F-4F75-383CE05E4A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A699C4-4F5D-A20E-DF5D-65CA7D8AB3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381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E0240FE3-07B2-A90D-4665-A673AFE1155E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4198686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B9301-37E6-DBCC-B5AD-B027CA5CF745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Successful Drone Ship Landing with Payload between 4000 and 6000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B4511B-9D71-5076-4928-F9A0671D116F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List the names of boosters which have successfully landed on drone ship and had payload mass greater than 4000 but less than 6000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/>
              <a:t> keyword is used to filter the results to include only those that satisfy both conditions in the brackets (as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/>
              <a:t> keyword is also used).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/>
              <a:t> keyword allows for 4000 &lt; x &lt; 6000 values to be selected.</a:t>
            </a:r>
          </a:p>
          <a:p>
            <a:endParaRPr lang="en-GB" dirty="0"/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5F414BD1-9D9D-D207-02F4-303FF29FC5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267FF5-4629-88D7-C300-E677504F5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609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464F9BFA-B9EE-CDE4-7B32-C022B94F1E82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984154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 with medium confidence">
            <a:extLst>
              <a:ext uri="{FF2B5EF4-FFF2-40B4-BE49-F238E27FC236}">
                <a16:creationId xmlns:a16="http://schemas.microsoft.com/office/drawing/2014/main" id="{CE5E0987-43B7-BCAC-A035-CE2BF3AA78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3" y="343163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" name="Titre 6">
            <a:extLst>
              <a:ext uri="{FF2B5EF4-FFF2-40B4-BE49-F238E27FC236}">
                <a16:creationId xmlns:a16="http://schemas.microsoft.com/office/drawing/2014/main" id="{F98FE140-A9EC-97E4-0BE4-CE843E558A4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XECUTIVE SUMMARY</a:t>
            </a:r>
            <a:endParaRPr lang="en-GB" dirty="0"/>
          </a:p>
        </p:txBody>
      </p:sp>
      <p:sp>
        <p:nvSpPr>
          <p:cNvPr id="4" name="Espace réservé du texte 8">
            <a:extLst>
              <a:ext uri="{FF2B5EF4-FFF2-40B4-BE49-F238E27FC236}">
                <a16:creationId xmlns:a16="http://schemas.microsoft.com/office/drawing/2014/main" id="{7D6BB372-E856-172D-D037-4AC9EBF2D16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6627291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accent2"/>
                </a:solidFill>
              </a:rPr>
              <a:t>Summary of Methodologies:</a:t>
            </a:r>
          </a:p>
          <a:p>
            <a:pPr marL="184150" lvl="2"/>
            <a:r>
              <a:rPr lang="en-GB"/>
              <a:t>This project follows these steps: </a:t>
            </a:r>
          </a:p>
          <a:p>
            <a:pPr marL="819150" lvl="2" indent="-457200"/>
            <a:r>
              <a:rPr lang="en-GB"/>
              <a:t>Data Collection</a:t>
            </a:r>
          </a:p>
          <a:p>
            <a:pPr marL="819150" lvl="2" indent="-457200"/>
            <a:r>
              <a:rPr lang="en-GB"/>
              <a:t>Data Wrangling </a:t>
            </a:r>
          </a:p>
          <a:p>
            <a:pPr marL="819150" lvl="2" indent="-457200"/>
            <a:r>
              <a:rPr lang="en-GB"/>
              <a:t>Exploratory Data Analysis</a:t>
            </a:r>
          </a:p>
          <a:p>
            <a:pPr marL="819150" lvl="2" indent="-457200"/>
            <a:r>
              <a:rPr lang="en-GB"/>
              <a:t>Interactive Visual Analytics</a:t>
            </a:r>
          </a:p>
          <a:p>
            <a:pPr marL="819150" lvl="2" indent="-457200"/>
            <a:r>
              <a:rPr lang="en-GB"/>
              <a:t>Predictive Analysis (Classification)</a:t>
            </a:r>
          </a:p>
          <a:p>
            <a:pPr lvl="2"/>
            <a:endParaRPr lang="en-GB"/>
          </a:p>
          <a:p>
            <a:r>
              <a:rPr lang="en-GB">
                <a:solidFill>
                  <a:schemeClr val="accent2"/>
                </a:solidFill>
              </a:rPr>
              <a:t>Summary of Results:</a:t>
            </a:r>
          </a:p>
          <a:p>
            <a:pPr marL="184150" lvl="2"/>
            <a:r>
              <a:rPr lang="en-GB"/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/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/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/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/>
              <a:t>Predictive analysis of classification models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1EB8A1-1EAE-E006-3FA9-B81D28C093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679" y="345864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AC5E85-AEE3-B761-94CD-6AAF5D79E1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763" y="162252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EC1C56D-9842-9BC7-4B30-60F151BAE4D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9119245" y="162252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60D3441-F545-3547-1109-F2B99144E214}"/>
              </a:ext>
            </a:extLst>
          </p:cNvPr>
          <p:cNvSpPr/>
          <p:nvPr/>
        </p:nvSpPr>
        <p:spPr>
          <a:xfrm>
            <a:off x="6240016" y="1463459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69ADA02-C288-96C4-0DA1-63FE8750C6EB}"/>
              </a:ext>
            </a:extLst>
          </p:cNvPr>
          <p:cNvSpPr/>
          <p:nvPr/>
        </p:nvSpPr>
        <p:spPr>
          <a:xfrm>
            <a:off x="8992772" y="1469481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6470DE4-AFBE-9449-98A1-225D4C80CF3B}"/>
              </a:ext>
            </a:extLst>
          </p:cNvPr>
          <p:cNvSpPr/>
          <p:nvPr/>
        </p:nvSpPr>
        <p:spPr>
          <a:xfrm>
            <a:off x="6240016" y="329958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45F0229-D8F1-A74E-7E3F-61BD7B9E899D}"/>
              </a:ext>
            </a:extLst>
          </p:cNvPr>
          <p:cNvSpPr/>
          <p:nvPr/>
        </p:nvSpPr>
        <p:spPr>
          <a:xfrm>
            <a:off x="8987003" y="3269936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5599482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09BDC-3FAB-51B2-58C1-535548FE706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otal Number of Successful and Failure Mission Outcom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ECD5B5-BA8B-AB59-A1A7-A6538127C874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alculate the total number of successful and failure mission outcome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COUNT</a:t>
            </a:r>
            <a:r>
              <a:rPr lang="en-GB"/>
              <a:t> keyword is used to calculate the total number of mission outcomes, and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GROUPBY</a:t>
            </a:r>
            <a:r>
              <a:rPr lang="en-GB"/>
              <a:t> keyword is also used to group these results by the type of mission outcome.</a:t>
            </a:r>
            <a:endParaRPr lang="en-GB" dirty="0"/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C4A3EC3-B805-E875-A769-E3C8D5313E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7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AAFC5E-57CA-4F94-12C8-71A415DE6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61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65080109-2EE3-22D6-359E-DA5594CB6CEB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677361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99B6A-8B36-2162-E1A2-9A52172DC8D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Boosters Carried Maximum Payloa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384990-616B-9790-90CE-9F7C4582B3B4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9219579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List the names of the booster which have carried the maximum payload mass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A subquery is used here.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SELECT</a:t>
            </a:r>
            <a:r>
              <a:rPr lang="en-GB"/>
              <a:t> statement within the brackets finds the maximum payload, and this value is used in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/>
              <a:t> condition.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DISTINCT</a:t>
            </a:r>
            <a:r>
              <a:rPr lang="en-GB"/>
              <a:t> keyword is then used to retrieve only distinct /unique booster versions. </a:t>
            </a:r>
          </a:p>
          <a:p>
            <a:endParaRPr lang="en-GB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3717EDB1-7837-9E10-D2A2-CA2AD75F45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822CD15-8EDE-2BEA-F64C-5A2D64AF4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19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3733EA3D-7202-51A5-97F6-BC2EB91AF14E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9088607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4A105-9F94-76A7-7E12-ED3A1C1A7AB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2015 Launch Record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7ED9CE-2F99-131C-2157-7ED788117786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List the failed landing_outcomes in drone ship, their booster versions, and launch site names for in year 2015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/>
              <a:t> keyword is used to filter the results for only failed landing outcomes,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/>
              <a:t> only for the year of 2015. </a:t>
            </a:r>
          </a:p>
          <a:p>
            <a:endParaRPr lang="en-GB" dirty="0"/>
          </a:p>
        </p:txBody>
      </p:sp>
      <p:pic>
        <p:nvPicPr>
          <p:cNvPr id="4" name="Picture 3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CCAE4245-B8BF-1C54-63B5-92EEE3B38F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96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4296F7F-CBBF-C8AC-4BB7-74D7E9845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F193DFE9-EE99-B25C-EDF9-4084FED8BF58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8601211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CC0A8-51D5-FFF2-57FD-0133DD4D67F8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Rank Landing Outcomes Between 2010-06-04 and 2017-03-20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312D73-0B44-0BB8-B876-117E773509CB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Rank the count of landing outcomes (such as Failure (drone ship) or Success (ground pad)) between the date 2010-06-04 and 2017-03-20, in descending order.</a:t>
            </a:r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endParaRPr lang="en-GB"/>
          </a:p>
          <a:p>
            <a:r>
              <a:rPr lang="en-GB"/>
              <a:t>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/>
              <a:t> keyword is used with th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/>
              <a:t> keyword to filter the results to dates only within those specified. The results are then grouped and ordered, using the keywords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GROUP BY</a:t>
            </a:r>
            <a:r>
              <a:rPr lang="en-GB"/>
              <a:t> and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ORDER BY</a:t>
            </a:r>
            <a:r>
              <a:rPr lang="en-GB"/>
              <a:t>, respectively, where </a:t>
            </a:r>
            <a:r>
              <a:rPr lang="en-GB">
                <a:solidFill>
                  <a:srgbClr val="61AFEF"/>
                </a:solidFill>
                <a:latin typeface="Consolas" panose="020B0609020204030204" pitchFamily="49" charset="0"/>
              </a:rPr>
              <a:t>DESC</a:t>
            </a:r>
            <a:r>
              <a:rPr lang="en-GB"/>
              <a:t> is used to specify the descending order.</a:t>
            </a:r>
            <a:endParaRPr lang="en-GB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CFF3C911-7C12-122D-79AF-953645881D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35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7B69C8-60EE-2A34-E269-A28D4D749D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C16B38B3-02C2-56EE-9265-E10803AF5B30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42053027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093EA-CC35-4455-2C34-FBC31BB30DED}"/>
              </a:ext>
            </a:extLst>
          </p:cNvPr>
          <p:cNvSpPr txBox="1">
            <a:spLocks/>
          </p:cNvSpPr>
          <p:nvPr/>
        </p:nvSpPr>
        <p:spPr>
          <a:xfrm>
            <a:off x="404813" y="1323344"/>
            <a:ext cx="11386134" cy="30469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LAUNCH SITES PROXIMITY ANALYSIS – </a:t>
            </a:r>
            <a:r>
              <a:rPr lang="en-GB">
                <a:solidFill>
                  <a:schemeClr val="accent2"/>
                </a:solidFill>
              </a:rPr>
              <a:t>FOLIUM INTERACTIVE MAP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0306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C2BD3-DC50-462A-3809-EE47D80C244B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LL LAUNCH SITES ON A MA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2E81B1-4249-5447-4D56-073CDCEAF1EA}"/>
              </a:ext>
            </a:extLst>
          </p:cNvPr>
          <p:cNvSpPr txBox="1">
            <a:spLocks/>
          </p:cNvSpPr>
          <p:nvPr/>
        </p:nvSpPr>
        <p:spPr>
          <a:xfrm>
            <a:off x="404813" y="4458153"/>
            <a:ext cx="6051227" cy="21297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ll SpaceX launch sites are on coasts of the United States of America, specifically Florida and California. </a:t>
            </a:r>
          </a:p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8353F4-73CD-7588-FE20-4F2B2798E8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A84A5F-71DA-F047-23AD-E3969B415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AF4D5D-81B1-4B2A-0BAD-EBC74D616C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83C640D-B7BE-8B9B-63CC-A6D03303F1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AD8E22B-84C3-D815-5C5F-D9F2CDAB34FF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CEDF416-F182-E9DF-0C85-3155CD1DA077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710ECA2-CE6B-1429-97ED-E445D9A31C30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00315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691B-1F73-F3D1-2A90-F02A121D7AF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SUCCESS/FAILED LAUNCHES FOR EACH SI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46AC28-1C2D-1B8D-E5CC-3BF9362D658A}"/>
              </a:ext>
            </a:extLst>
          </p:cNvPr>
          <p:cNvSpPr txBox="1">
            <a:spLocks/>
          </p:cNvSpPr>
          <p:nvPr/>
        </p:nvSpPr>
        <p:spPr>
          <a:xfrm>
            <a:off x="6607174" y="1447801"/>
            <a:ext cx="5203825" cy="21390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Launches have been grouped into clusters, and annotated with </a:t>
            </a:r>
            <a:r>
              <a:rPr lang="en-GB">
                <a:solidFill>
                  <a:srgbClr val="058A05"/>
                </a:solidFill>
              </a:rPr>
              <a:t>green icons </a:t>
            </a:r>
            <a:r>
              <a:rPr lang="en-GB"/>
              <a:t>for successful launches, and </a:t>
            </a:r>
            <a:r>
              <a:rPr lang="en-GB">
                <a:solidFill>
                  <a:srgbClr val="FF0505"/>
                </a:solidFill>
              </a:rPr>
              <a:t>red icons </a:t>
            </a:r>
            <a:r>
              <a:rPr lang="en-GB"/>
              <a:t>for failed launches.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B4A0DF-1F09-8313-4040-F1617632B2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A761D65-E500-8358-BAFA-4ADD385CCF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22B8E0-1819-35DB-0B92-1C729CDF324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6E447FC-1BB6-2754-7D29-A838AC9D46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4BEBEF-E59D-1524-9072-BBA461FDF9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53B3570-1002-911C-08D2-DC8EAA9B1779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250A6F4-159D-0F91-10AF-E316BCC99262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CBBB3E8-BEFB-D2EC-BD9D-C82CB7316517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8AA7485-CEDF-2247-A17F-ECF0E5F49C60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chemeClr val="accent2"/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8AA7485-CEDF-2247-A17F-ECF0E5F49C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FE2C7311-6426-0F94-0B24-AA3753CC89ED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CCAFS SLC-40 and CCAFS LC-4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1C1DA9-912A-8DDE-E26C-C892172DF85D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KSC LC-39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A6B2AA-F5D8-7C08-76A3-4CC6DD27E354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VAFB SLC-4E</a:t>
            </a:r>
          </a:p>
        </p:txBody>
      </p:sp>
    </p:spTree>
    <p:extLst>
      <p:ext uri="{BB962C8B-B14F-4D97-AF65-F5344CB8AC3E}">
        <p14:creationId xmlns:p14="http://schemas.microsoft.com/office/powerpoint/2010/main" val="19134940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4B1D3-85D3-863E-DE75-3ED2CA4D794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PROXIMITY OF LAUNCH SITES TO OTHER POINTS OF INTERES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D8595B-E370-928E-EE27-CBD078AC986E}"/>
              </a:ext>
            </a:extLst>
          </p:cNvPr>
          <p:cNvSpPr txBox="1">
            <a:spLocks/>
          </p:cNvSpPr>
          <p:nvPr/>
        </p:nvSpPr>
        <p:spPr>
          <a:xfrm>
            <a:off x="7968208" y="1196752"/>
            <a:ext cx="3826538" cy="2111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re launch sites in close proximity to rail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2"/>
                </a:solidFill>
              </a:rPr>
              <a:t>YES.</a:t>
            </a:r>
            <a:r>
              <a:rPr lang="en-GB"/>
              <a:t> The coastline is only 0.87 km due East.</a:t>
            </a:r>
          </a:p>
          <a:p>
            <a:r>
              <a:rPr lang="en-GB">
                <a:solidFill>
                  <a:schemeClr val="bg1"/>
                </a:solidFill>
              </a:rPr>
              <a:t>Are launch sites in close proximity to high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2"/>
                </a:solidFill>
              </a:rPr>
              <a:t>YES. </a:t>
            </a:r>
            <a:r>
              <a:rPr lang="en-GB"/>
              <a:t>The nearest highway is only 0.59km away. </a:t>
            </a:r>
          </a:p>
          <a:p>
            <a:r>
              <a:rPr lang="en-GB">
                <a:solidFill>
                  <a:schemeClr val="bg1"/>
                </a:solidFill>
              </a:rPr>
              <a:t>Are launch sites in close proximity to railway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2"/>
                </a:solidFill>
              </a:rPr>
              <a:t>YES. </a:t>
            </a:r>
            <a:r>
              <a:rPr lang="en-GB"/>
              <a:t>The nearest railway is only 1.29 km away.</a:t>
            </a:r>
          </a:p>
          <a:p>
            <a:r>
              <a:rPr lang="en-GB">
                <a:solidFill>
                  <a:schemeClr val="bg1"/>
                </a:solidFill>
              </a:rPr>
              <a:t>Do launch sites keep certain distance away from citi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2"/>
                </a:solidFill>
              </a:rPr>
              <a:t>YES. </a:t>
            </a:r>
            <a:r>
              <a:rPr lang="en-GB"/>
              <a:t>The nearest city is 51.74 km away.</a:t>
            </a:r>
          </a:p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3DEB30-F9B7-35A5-9B4C-0E6FE28B46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3366501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A27335-5F24-D5C2-2BED-CC95B5D8BA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208" y="3381808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9F8567-AD98-0E80-303F-4458CB20CC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760" y="1245590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7244E51-7719-4784-BF4C-ECD63D14B5FB}"/>
              </a:ext>
            </a:extLst>
          </p:cNvPr>
          <p:cNvSpPr txBox="1"/>
          <p:nvPr/>
        </p:nvSpPr>
        <p:spPr>
          <a:xfrm>
            <a:off x="479376" y="1163716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</a:t>
            </a:r>
            <a:r>
              <a:rPr lang="en-GB" sz="1600" dirty="0">
                <a:solidFill>
                  <a:schemeClr val="accent2"/>
                </a:solidFill>
              </a:rPr>
              <a:t>CCAFS SLC-40 </a:t>
            </a:r>
            <a:r>
              <a:rPr lang="en-GB" sz="1600" dirty="0">
                <a:solidFill>
                  <a:schemeClr val="bg1"/>
                </a:solidFill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1560113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BA4C6-7501-8042-983A-B8257BBD93D9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11386134" cy="20313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interactive dashboard  - </a:t>
            </a:r>
            <a:r>
              <a:rPr lang="en-GB">
                <a:solidFill>
                  <a:schemeClr val="accent2"/>
                </a:solidFill>
              </a:rPr>
              <a:t>Plotly Dash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6475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39425CC-566D-80BA-1A23-B0A9DC5D03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3A63C36-0A70-D302-BED7-E1AA48D4EDE7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launch success count for all sites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10A443-D85E-FC61-B510-816EDC233C7A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he launch site </a:t>
            </a:r>
            <a:r>
              <a:rPr lang="en-GB">
                <a:solidFill>
                  <a:schemeClr val="accent2"/>
                </a:solidFill>
              </a:rPr>
              <a:t>KSC LC-39 A</a:t>
            </a:r>
            <a:r>
              <a:rPr lang="en-GB"/>
              <a:t> had the most successful launches, with 41.7% of the total successful launche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667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5067DD8A-70BE-ABC6-BD8B-1173C1F4D2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Title 12">
            <a:extLst>
              <a:ext uri="{FF2B5EF4-FFF2-40B4-BE49-F238E27FC236}">
                <a16:creationId xmlns:a16="http://schemas.microsoft.com/office/drawing/2014/main" id="{BA2ED740-5BEF-320B-2357-5410F6340C16}"/>
              </a:ext>
            </a:extLst>
          </p:cNvPr>
          <p:cNvSpPr txBox="1">
            <a:spLocks/>
          </p:cNvSpPr>
          <p:nvPr/>
        </p:nvSpPr>
        <p:spPr>
          <a:xfrm>
            <a:off x="404813" y="388188"/>
            <a:ext cx="5979219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CB64D5D-4B18-D6B6-5F99-24A12E396EE6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6195243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rgbClr val="FFFFFF"/>
                </a:solidFill>
                <a:latin typeface="Ubuntu"/>
              </a:rPr>
              <a:t>SpaceX launches Falcon 9 rockets at a cost of around $62m. This is considerably cheaper than other providers (which usually cost upwards of $165m), and much of the savings are because SpaceX can land, and then re-use the first stage of the rocket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rgbClr val="FFFFFF"/>
                </a:solidFill>
                <a:latin typeface="Ubuntu"/>
              </a:rPr>
              <a:t>If we can make predictions on whether the first stage will land, we can determine the cost of a launch, and use this information to assess whether or not an alternate company should bid and SpaceX for a rocket launch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rgbClr val="FFFFFF"/>
                </a:solidFill>
                <a:latin typeface="Ubuntu"/>
              </a:rPr>
              <a:t>This project will ultimately </a:t>
            </a:r>
            <a:r>
              <a:rPr lang="en-GB" sz="1800" dirty="0">
                <a:solidFill>
                  <a:srgbClr val="12ABDB"/>
                </a:solidFill>
                <a:latin typeface="Ubuntu"/>
              </a:rPr>
              <a:t>predict if the Space X Falcon 9 first stage will land successfully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FB83A-FFBB-E74F-8D01-615BD5024A51}"/>
              </a:ext>
            </a:extLst>
          </p:cNvPr>
          <p:cNvSpPr txBox="1">
            <a:spLocks/>
          </p:cNvSpPr>
          <p:nvPr/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B16B377-96F9-C210-7113-D55160ECEB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6728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E662B-79EC-45EE-76A0-942F2ECB7CC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Pie chart for the launch site with highest launch success ratio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DEA8A9-FA79-E281-73CC-49D5EB3F50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EA0699B6-C383-E780-64FF-8EAC5A85B6B0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8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EA0699B6-C383-E780-64FF-8EAC5A85B6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blipFill>
                <a:blip r:embed="rId3"/>
                <a:stretch>
                  <a:fillRect t="-163333" r="-7960" b="-24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77FC903-B3A6-FD5B-653B-2C4C8C3C0349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also had the highest rate of successful launches, with a 76.9% success rate.</a:t>
            </a:r>
          </a:p>
        </p:txBody>
      </p:sp>
    </p:spTree>
    <p:extLst>
      <p:ext uri="{BB962C8B-B14F-4D97-AF65-F5344CB8AC3E}">
        <p14:creationId xmlns:p14="http://schemas.microsoft.com/office/powerpoint/2010/main" val="37941298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7C931B1-0436-D26D-538E-C2F4F114F7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36513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D2EFA5D-3D01-14B7-FC66-9858425468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39671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77ACAD6-834A-6255-4AC3-19A3B85BE49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Launch Outcome VS. Payload scatter plot for all sites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75E34DA-7454-44F0-83AF-AED8F10B34D7}"/>
              </a:ext>
            </a:extLst>
          </p:cNvPr>
          <p:cNvSpPr txBox="1">
            <a:spLocks/>
          </p:cNvSpPr>
          <p:nvPr/>
        </p:nvSpPr>
        <p:spPr>
          <a:xfrm>
            <a:off x="404814" y="4367259"/>
            <a:ext cx="5968594" cy="20319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/>
              <a:t>Plotting the launch outcome vs. payload for all sites shows a gap around 4000 kg, so it makes sense to split the data into 2 ranges: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/>
              <a:t>0 – 4000 kg (low payloads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/>
              <a:t>4000 – 10000 kg (massive payload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/>
              <a:t>From these 2 plots, it can be shown that </a:t>
            </a:r>
            <a:r>
              <a:rPr lang="en-GB" sz="1400">
                <a:solidFill>
                  <a:schemeClr val="accent2"/>
                </a:solidFill>
              </a:rPr>
              <a:t>the success for massive payloads is lower than that for low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/>
              <a:t>It is also worth noting that some booster types (v1.0 and B5) have not been launched with massive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728BCE-E48C-8E5C-8E11-904221B9B7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8" y="1438274"/>
            <a:ext cx="5968594" cy="281471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464756B-D626-5EA4-9471-A762522D129D}"/>
              </a:ext>
            </a:extLst>
          </p:cNvPr>
          <p:cNvCxnSpPr>
            <a:cxnSpLocks/>
          </p:cNvCxnSpPr>
          <p:nvPr/>
        </p:nvCxnSpPr>
        <p:spPr>
          <a:xfrm flipV="1">
            <a:off x="3317356" y="2146072"/>
            <a:ext cx="0" cy="1927147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660F734C-81C6-ACDF-DBFC-EF1B87FC6007}"/>
              </a:ext>
            </a:extLst>
          </p:cNvPr>
          <p:cNvSpPr/>
          <p:nvPr/>
        </p:nvSpPr>
        <p:spPr>
          <a:xfrm>
            <a:off x="1498304" y="2901405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228DE52-4A93-518F-9D8B-706726ED9240}"/>
              </a:ext>
            </a:extLst>
          </p:cNvPr>
          <p:cNvSpPr/>
          <p:nvPr/>
        </p:nvSpPr>
        <p:spPr>
          <a:xfrm>
            <a:off x="3477859" y="2898893"/>
            <a:ext cx="314639" cy="3146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ADF9A8C-B565-BE9B-09EC-549B1F184DA8}"/>
              </a:ext>
            </a:extLst>
          </p:cNvPr>
          <p:cNvSpPr/>
          <p:nvPr/>
        </p:nvSpPr>
        <p:spPr>
          <a:xfrm>
            <a:off x="7221138" y="9859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96813CE-E3D6-48C9-321A-1FD4478B870E}"/>
              </a:ext>
            </a:extLst>
          </p:cNvPr>
          <p:cNvSpPr/>
          <p:nvPr/>
        </p:nvSpPr>
        <p:spPr>
          <a:xfrm>
            <a:off x="7252716" y="375127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39DECD-BC0E-8325-C3B7-FEF44C002689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Low payloa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D08443-D1DC-6834-BBEE-8D9AADA87C83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Massive payload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844450E-9CCE-B14A-BAAD-D05F0DA9F6DE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844450E-9CCE-B14A-BAAD-D05F0DA9F6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blipFill>
                <a:blip r:embed="rId5"/>
                <a:stretch>
                  <a:fillRect t="-163333" r="-7960" b="-24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705157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AC5A0-AB8B-124B-0617-40AB95A2335F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11386134" cy="20313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PREDICTIVE ANALYSIS - </a:t>
            </a:r>
            <a:r>
              <a:rPr lang="en-GB">
                <a:solidFill>
                  <a:schemeClr val="accent2"/>
                </a:solidFill>
              </a:rPr>
              <a:t>CLASSIFIC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5227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C4819-3F84-20D1-57E3-50F53FCEC521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CLASSIFICATION ACCURACY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A87642-C4BC-5103-FD5D-266F96BA5EE0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619179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lotting the Accuracy Score and Best Score for each classification algorithm produces the following resul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/>
              <a:t>model has the highest classification accuracy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Accuracy Score is 94.44%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Best Score is 90.36%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7954D7-1597-F7EF-BC6B-0C77EE920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656" y="4714778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2F0D07C0-4A09-6232-F36E-126D84B4A8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1E13DD17-4C07-40D5-E37D-830B670622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651252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D02DF-5025-E060-2D48-14C5CD1C90DB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Confusion Matrix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86C385-5353-630F-C3D9-7D3755623E0E}"/>
              </a:ext>
            </a:extLst>
          </p:cNvPr>
          <p:cNvSpPr txBox="1">
            <a:spLocks/>
          </p:cNvSpPr>
          <p:nvPr/>
        </p:nvSpPr>
        <p:spPr>
          <a:xfrm>
            <a:off x="6528048" y="1447800"/>
            <a:ext cx="5282952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As shown previously, best performing classification model is the </a:t>
            </a:r>
            <a:r>
              <a:rPr lang="en-GB">
                <a:solidFill>
                  <a:schemeClr val="accent2"/>
                </a:solidFill>
              </a:rPr>
              <a:t>Decision Tree </a:t>
            </a:r>
            <a:r>
              <a:rPr lang="en-GB"/>
              <a:t>model, with an accuracy of 94.44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The other 17 results are correctly classified (5 did not land, 12 did land).</a:t>
            </a:r>
            <a:endParaRPr lang="en-GB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6BBEC7B6-ACC0-13F4-141C-1485E29417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122349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39998-5B7A-BF64-CFF2-2D391E026AF6}"/>
              </a:ext>
            </a:extLst>
          </p:cNvPr>
          <p:cNvSpPr txBox="1">
            <a:spLocks/>
          </p:cNvSpPr>
          <p:nvPr/>
        </p:nvSpPr>
        <p:spPr>
          <a:xfrm>
            <a:off x="404813" y="2921169"/>
            <a:ext cx="11386134" cy="1015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CONCLUSIONS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97797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92EB51A-FAAD-27FE-0CA1-952BF2275A18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CONCLUSIONS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6B36910-C2E2-4EC9-5820-777C8B3334A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8066241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/>
              <a:t>Between 2010 and 2013, all landings were unsuccessful (as the success rate is 0)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/>
              <a:t>After 2013, the success rate generally increased, despite small dips in </a:t>
            </a:r>
            <a:r>
              <a:rPr lang="en-GB" sz="1050" dirty="0"/>
              <a:t>2018 and 2020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050" dirty="0"/>
              <a:t>After 2016, there was always a greater than 50% chance of succes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Orbit types ES-L1, GEO, HEO, and SSO, have the highest (100%) success rate.</a:t>
            </a:r>
          </a:p>
          <a:p>
            <a:pPr lvl="2"/>
            <a:r>
              <a:rPr lang="en-GB" sz="1200" dirty="0"/>
              <a:t>The 100% success rate of GEO, HEO, and ES-L1 orbits can be explained by only having 1 flight into the respective orbits. </a:t>
            </a:r>
          </a:p>
          <a:p>
            <a:pPr lvl="2"/>
            <a:r>
              <a:rPr lang="en-GB" sz="1200" dirty="0"/>
              <a:t>The 100% success rate in SSO is more impressive, with 5 successful flights.</a:t>
            </a:r>
          </a:p>
          <a:p>
            <a:pPr lvl="2"/>
            <a:r>
              <a:rPr lang="en-GB" sz="1200" dirty="0"/>
              <a:t>The orbit types PO, ISS, and LEO, have more success with heavy payloads:</a:t>
            </a:r>
          </a:p>
          <a:p>
            <a:pPr lvl="2"/>
            <a:r>
              <a:rPr lang="en-GB" sz="1200" dirty="0"/>
              <a:t>VLEO (Very Low Earth Orbit) launches are associated with heavier payloads, which makes intuitive sense.</a:t>
            </a:r>
          </a:p>
          <a:p>
            <a:pPr lvl="1"/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launch site </a:t>
            </a:r>
            <a:r>
              <a:rPr lang="en-GB" sz="1400" dirty="0">
                <a:solidFill>
                  <a:schemeClr val="accent2"/>
                </a:solidFill>
              </a:rPr>
              <a:t>KSC LC-39 A</a:t>
            </a:r>
            <a:r>
              <a:rPr lang="en-GB" sz="1400" dirty="0"/>
              <a:t> had the most successful launches, with 41.7% of the total successful launches, and also the highest rate of successful launches, with a 76.9% success r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success for massive payloads (over 4000kg) is lower than that for low pay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best performing classification model is the Decision Tree model, with an accuracy of 94.44%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dirty="0"/>
          </a:p>
        </p:txBody>
      </p:sp>
      <p:pic>
        <p:nvPicPr>
          <p:cNvPr id="13" name="Picture 12" descr="Chart&#10;&#10;Description automatically generated with medium confidence">
            <a:extLst>
              <a:ext uri="{FF2B5EF4-FFF2-40B4-BE49-F238E27FC236}">
                <a16:creationId xmlns:a16="http://schemas.microsoft.com/office/drawing/2014/main" id="{2247B8BB-D420-6D28-3DB9-969027424D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35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218F8D4-ACDD-6D1A-6852-70F4849EE693}"/>
              </a:ext>
            </a:extLst>
          </p:cNvPr>
          <p:cNvGrpSpPr/>
          <p:nvPr/>
        </p:nvGrpSpPr>
        <p:grpSpPr>
          <a:xfrm>
            <a:off x="8471054" y="2719305"/>
            <a:ext cx="3404705" cy="989978"/>
            <a:chOff x="8471054" y="2690634"/>
            <a:chExt cx="3404705" cy="989978"/>
          </a:xfrm>
        </p:grpSpPr>
        <p:pic>
          <p:nvPicPr>
            <p:cNvPr id="15" name="Picture 14" descr="Chart, bar chart&#10;&#10;Description automatically generated">
              <a:extLst>
                <a:ext uri="{FF2B5EF4-FFF2-40B4-BE49-F238E27FC236}">
                  <a16:creationId xmlns:a16="http://schemas.microsoft.com/office/drawing/2014/main" id="{3C6E5DA1-0CF4-E75A-B1C4-B0DE9787C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F3887B8-9B45-0394-7275-FA1A02C0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9B8257B0-1653-E06A-1F69-21F3823B44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13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0B03BFE-8307-A064-4F5C-2E14204D94E7}"/>
              </a:ext>
            </a:extLst>
          </p:cNvPr>
          <p:cNvGrpSpPr/>
          <p:nvPr/>
        </p:nvGrpSpPr>
        <p:grpSpPr>
          <a:xfrm>
            <a:off x="8471054" y="5215074"/>
            <a:ext cx="3404705" cy="976998"/>
            <a:chOff x="8471054" y="5215074"/>
            <a:chExt cx="3404705" cy="976998"/>
          </a:xfrm>
        </p:grpSpPr>
        <p:pic>
          <p:nvPicPr>
            <p:cNvPr id="19" name="Picture 18" descr="Chart, bar chart&#10;&#10;Description automatically generated">
              <a:extLst>
                <a:ext uri="{FF2B5EF4-FFF2-40B4-BE49-F238E27FC236}">
                  <a16:creationId xmlns:a16="http://schemas.microsoft.com/office/drawing/2014/main" id="{18CCED61-9BCF-4D22-2466-778EA9505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20" name="Picture 19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DC760239-2B0D-2365-16C5-A7D4F53DD3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3560908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37558E43-F52D-DA91-DBFA-59BACAC025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Title 12">
            <a:extLst>
              <a:ext uri="{FF2B5EF4-FFF2-40B4-BE49-F238E27FC236}">
                <a16:creationId xmlns:a16="http://schemas.microsoft.com/office/drawing/2014/main" id="{E2749F4B-F701-4F62-FC82-AB12E6F74D8B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METHODOLOGY SUMMARY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6C71A18-EA1A-F110-D72E-B479A19CB1C1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Collec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Making GET requests to the SpaceX REST API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Web Scraping</a:t>
            </a:r>
            <a:endParaRPr lang="en-GB" sz="11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Wrangling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/>
              <a:t>Using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Consolas" panose="020B0609020204030204" pitchFamily="49" charset="0"/>
              </a:rPr>
              <a:t>fillna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400" dirty="0"/>
              <a:t> method to remove </a:t>
            </a:r>
            <a:r>
              <a:rPr lang="en-GB" sz="1400" dirty="0" err="1"/>
              <a:t>NaN</a:t>
            </a:r>
            <a:r>
              <a:rPr lang="en-GB" sz="1400" dirty="0"/>
              <a:t> values</a:t>
            </a:r>
            <a:endParaRPr lang="en-GB" sz="1400" dirty="0">
              <a:solidFill>
                <a:schemeClr val="accent2"/>
              </a:solidFill>
            </a:endParaRP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the </a:t>
            </a:r>
            <a:r>
              <a:rPr lang="en-GB" sz="1400" dirty="0">
                <a:solidFill>
                  <a:srgbClr val="ABB2BF"/>
                </a:solidFill>
                <a:latin typeface="Consolas" panose="020B06090202040302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Consolas" panose="020B0609020204030204" pitchFamily="49" charset="0"/>
              </a:rPr>
              <a:t>value_counts</a:t>
            </a:r>
            <a:r>
              <a:rPr lang="en-GB" sz="1400" dirty="0">
                <a:solidFill>
                  <a:srgbClr val="ABB2BF"/>
                </a:solidFill>
                <a:latin typeface="Consolas" panose="020B0609020204030204" pitchFamily="49" charset="0"/>
              </a:rPr>
              <a:t>()</a:t>
            </a:r>
            <a:r>
              <a:rPr lang="en-GB" sz="1400" dirty="0">
                <a:solidFill>
                  <a:schemeClr val="bg1"/>
                </a:solidFill>
              </a:rPr>
              <a:t> method to determine the following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of launches on each site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and occurrence of each orbit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and occurrence of mission outcome per orbit type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Creating a landing outcome label that shows the following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0 when the booster did not land successfully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1 when the booster did land successfully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Exploratory Data Analysi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SQL queries to manipulate and evaluate the SpaceX dataset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Pandas and Matplotlib to visualize relationships between variables, and determine pattern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Interactive Visual Analytic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Geospatial analytics using Folium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Creating an interactive dashboard using </a:t>
            </a:r>
            <a:r>
              <a:rPr lang="en-GB" sz="1400" dirty="0" err="1">
                <a:solidFill>
                  <a:schemeClr val="bg1"/>
                </a:solidFill>
              </a:rPr>
              <a:t>Plotly</a:t>
            </a:r>
            <a:r>
              <a:rPr lang="en-GB" sz="1400" dirty="0">
                <a:solidFill>
                  <a:schemeClr val="bg1"/>
                </a:solidFill>
              </a:rPr>
              <a:t> Dash</a:t>
            </a:r>
            <a:endParaRPr lang="en-GB" sz="1600" dirty="0">
              <a:solidFill>
                <a:schemeClr val="accent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Modelling and Evalua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Scikit-Learn to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Pre-process (standardize) the data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Split the data into training and testing data using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train_test_split</a:t>
            </a:r>
            <a:endParaRPr lang="en-GB" sz="1400" dirty="0">
              <a:solidFill>
                <a:srgbClr val="61AFEF"/>
              </a:solidFill>
              <a:latin typeface="Consolas" panose="020B0609020204030204" pitchFamily="49" charset="0"/>
            </a:endParaRPr>
          </a:p>
          <a:p>
            <a:pPr marL="704850" lvl="2" indent="-342900"/>
            <a:r>
              <a:rPr lang="en-GB" sz="1200" dirty="0"/>
              <a:t>Train different classification models</a:t>
            </a:r>
          </a:p>
          <a:p>
            <a:pPr marL="704850" lvl="2" indent="-342900"/>
            <a:r>
              <a:rPr lang="en-GB" sz="1200" dirty="0"/>
              <a:t>Find hyperparameters using </a:t>
            </a:r>
            <a:r>
              <a:rPr lang="en-GB" sz="1200" dirty="0" err="1">
                <a:latin typeface="Consolas" panose="020B0609020204030204" pitchFamily="49" charset="0"/>
              </a:rPr>
              <a:t>GridSearchCV</a:t>
            </a:r>
            <a:endParaRPr lang="en-GB" sz="1200" dirty="0">
              <a:latin typeface="Consolas" panose="020B0609020204030204" pitchFamily="49" charset="0"/>
            </a:endParaRPr>
          </a:p>
          <a:p>
            <a:pPr marL="520700" lvl="1" indent="-342900"/>
            <a:r>
              <a:rPr lang="en-GB" sz="1400" dirty="0"/>
              <a:t>Plotting confusion matrices for each classification model</a:t>
            </a:r>
          </a:p>
          <a:p>
            <a:pPr marL="520700" lvl="1" indent="-342900"/>
            <a:r>
              <a:rPr lang="en-GB" sz="1400" dirty="0"/>
              <a:t>Assessing the accuracy of each classification model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254336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32BFD-C907-DF28-D9C4-5A680CA887B3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ATA COLLECTION – </a:t>
            </a:r>
          </a:p>
          <a:p>
            <a:r>
              <a:rPr lang="en-US" dirty="0">
                <a:solidFill>
                  <a:schemeClr val="accent2"/>
                </a:solidFill>
              </a:rPr>
              <a:t>space x REST </a:t>
            </a:r>
            <a:r>
              <a:rPr lang="en-US" dirty="0" err="1">
                <a:solidFill>
                  <a:schemeClr val="accent2"/>
                </a:solidFill>
              </a:rPr>
              <a:t>api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B7DD07-90EF-7D7A-E3E9-0AB33BC7E2DC}"/>
              </a:ext>
            </a:extLst>
          </p:cNvPr>
          <p:cNvSpPr txBox="1"/>
          <p:nvPr/>
        </p:nvSpPr>
        <p:spPr>
          <a:xfrm>
            <a:off x="154062" y="1052736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630AE5B-9563-DF2D-EDF2-F1C96BB6FF0F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415AABD-A7EC-D9DF-E478-64ED1C4B8975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5DFB9A97-8039-D78B-B653-CCF70DE335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0CF5FEF1-B51C-9CAD-73E4-85FAA9CA88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8ED95BA-C953-5BDA-D834-2849AFC746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E486637-1094-100D-7ACD-D785A1A68482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721C02-4668-A55E-FA2B-CF373A4FDCBE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0363185-D204-666C-CAB4-8DAF2070504B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8CD57B31-5B56-BD5D-E2C3-F3B4890ACD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E4FD0F8-8575-D8F2-272B-412F25A31CD9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5ACC411D-9A7E-D7F0-3226-99D5B85C55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64650A76-53E2-447B-D901-2563962980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F2FB65D-1B9D-9122-76A9-F03148B73EB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EFC43DE-5612-1F28-370F-CF4BB5A92134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C03533A-D90C-8780-CC91-7E9A6CEA8BC8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3BEEF41-900E-55E5-C2BB-71599F243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ADF161B-77DD-7919-1711-F555D995261D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4DDF30D-30D8-A045-0492-1FF7789F4A3C}"/>
              </a:ext>
            </a:extLst>
          </p:cNvPr>
          <p:cNvGrpSpPr/>
          <p:nvPr/>
        </p:nvGrpSpPr>
        <p:grpSpPr>
          <a:xfrm>
            <a:off x="6320165" y="5155553"/>
            <a:ext cx="5435105" cy="1275400"/>
            <a:chOff x="6349527" y="5155553"/>
            <a:chExt cx="5435105" cy="127540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AA7ABAD-AE9A-90ED-2D20-4339F9F34BAE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6D838BDA-FEB2-8FB6-E841-EAE446890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184ED26E-C55E-D706-4B0A-3887B849C6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DEE7E9A2-76DA-451B-C49C-8B53D60995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8929457-85D0-5EC2-5964-8A34104407C1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649EF635-515A-AD0F-88A2-AA5C7E0C753C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919CC73-A437-64DF-31A2-FE57EEDC2A17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87E2126-1EE4-C372-C9DD-B4EED5C3B34D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2C66154-72BB-E907-CEED-021D41200793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87CBF69-5DF6-AE25-0AAC-5C8C897C760C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959575D-E213-657C-A71C-85ED0A47438C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D778AB9D-B0B1-FFF5-D637-7DE6A92804AD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7FD0138-9C56-1BA8-B2F7-6FC6D5470E2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61974DC-5A29-ECF9-8575-827B43DF3B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40" name="Rectangle: Rounded Corners 39">
                <a:extLst>
                  <a:ext uri="{FF2B5EF4-FFF2-40B4-BE49-F238E27FC236}">
                    <a16:creationId xmlns:a16="http://schemas.microsoft.com/office/drawing/2014/main" id="{A3D53E89-98AB-7CC3-52FF-DD94A3C49275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14823B8-EBB3-0E21-02D6-A0DD2F7260B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B69E8CC5-0518-2F6A-4CCC-6924ACF5E5D8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BCF2E2C5-E462-403D-419C-7C953B060AE5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CE409EF8-CC2C-CD3D-59B5-1E22F677E500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BA65975-C457-7824-1001-FC93B4F0AE53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8C35539A-5685-CF2A-6142-03376B10C00A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EA12DF5C-8070-8880-A457-541D29074675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1361D80-0A79-A439-EF39-704DED296101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1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767382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02EABD3-FDAB-9BDB-F1E1-8AEF4DED893A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B897B71-A1FB-3A3D-768D-BC301D559E62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DATA COLLECTION – </a:t>
            </a:r>
            <a:r>
              <a:rPr lang="en-US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405241-E288-7059-5F37-DA1B79E09C60}"/>
              </a:ext>
            </a:extLst>
          </p:cNvPr>
          <p:cNvSpPr txBox="1"/>
          <p:nvPr/>
        </p:nvSpPr>
        <p:spPr>
          <a:xfrm>
            <a:off x="154062" y="1052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89E951D-0EF3-2DAC-F3A6-F06C0D320579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48EC479-1574-AB80-42B5-7A15FE4A660F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422FFB48-84AD-E9EF-BCB4-CB182BD24EC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F61A24C4-835C-54F5-88A8-70F3BC7A24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1BE812F-6EF9-3453-5478-A8E0FDCCE411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853BC79-5439-BB38-AAF4-1EDE576691BE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B211F83-E2E7-CCDA-1472-FD703A2A6A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F61CDEA-213B-6F85-7D7A-9F951C843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4D7CB8B-AD6F-90E9-4A15-F3EB694E09F6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62CA55E-4448-63EC-0CFC-4E50B5F1A3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5D7FC457-BC9C-2ABF-0A29-ABC4A12ABFDE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541A5B2-595F-C69D-47E2-9832E3B45D09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E318D71-C8FC-E1E9-E79C-CC1EAE61A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8A4A7DC-6E91-265B-D6DE-CF13EBE4612C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A9D0CD5-992D-3301-B264-056E50C8A876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4601CA1-2356-F48C-2665-57A8065A8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48A35BC-DD44-DF66-30EA-7C80C7760319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CF5E1DB-72E0-8ED6-087E-5D0B1B31A735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419D924-D390-7853-130A-0DA3B401269B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A78916E3-9732-0A28-FE2F-44496107D2D4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76F73CB-2D21-F2A2-CBDA-5A61510DD989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1B2ED50-9B54-AE6B-1584-6D8388A1CDDE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B20D7DC4-DF47-A3FE-7887-0240714A78FB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D6EB95-CEBE-4CF1-54FF-0F41AD2EED3C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837981-E64D-FFD4-E5A1-CC7D42EF74E3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4674BD7-56D8-2C05-D1C4-2393C37B6A69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86D3713-1D56-CBE1-A55C-039735A4119A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974F3F7-5E69-C01F-099F-5951DF58C266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FD31F35F-2861-A496-BEDF-7E0CCD251F37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062E5BB-1C75-7BB6-68A0-DE83A4E01D1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9718C9B-4A7A-B02A-94D3-74956F050878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2295E13-4D7B-E7C7-955F-600DA1448FFA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750EE72-92DF-F8E5-BAF2-7A44E908420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AF31A8C0-937B-15B3-06FB-97AE2C17EC67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9"/>
              </a:rPr>
              <a:t>GitHub Link</a:t>
            </a:r>
            <a:endParaRPr lang="en-GB" sz="10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9DF167D3-A657-32E4-A2E6-7959864D5B58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800205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27F23-7809-EF0C-9EDE-CAED659A8F21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DATA MANIPULATION/WRANGLING – </a:t>
            </a:r>
            <a:r>
              <a:rPr lang="en-US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CFF0B-21B4-BE61-DEF2-E7FFF0009641}"/>
              </a:ext>
            </a:extLst>
          </p:cNvPr>
          <p:cNvSpPr txBox="1">
            <a:spLocks/>
          </p:cNvSpPr>
          <p:nvPr/>
        </p:nvSpPr>
        <p:spPr>
          <a:xfrm>
            <a:off x="404813" y="3048000"/>
            <a:ext cx="6339259" cy="1649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sz="1600" dirty="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he SpaceX dataset contains several Space X  launch facilities, and each location is in the </a:t>
            </a:r>
            <a:r>
              <a:rPr lang="en-GB" sz="1400" dirty="0" err="1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1400" dirty="0">
                <a:solidFill>
                  <a:schemeClr val="bg1"/>
                </a:solidFill>
              </a:rPr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Each launch aims to a dedicated orbit, and some of the common orbit types are shown in the figure below. The orbit type is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1400" dirty="0"/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lvl="1"/>
            <a:r>
              <a:rPr lang="en-GB" sz="1600" dirty="0"/>
              <a:t>Initial Data Explor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Using the </a:t>
            </a:r>
            <a:r>
              <a:rPr lang="en-GB" sz="1400" dirty="0">
                <a:solidFill>
                  <a:schemeClr val="accent1"/>
                </a:solidFill>
                <a:latin typeface="Consolas" panose="020B0609020204030204" pitchFamily="49" charset="0"/>
              </a:rPr>
              <a:t>.</a:t>
            </a:r>
            <a:r>
              <a:rPr lang="en-GB" sz="14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ue_counts</a:t>
            </a:r>
            <a:r>
              <a:rPr lang="en-GB" sz="1400" dirty="0">
                <a:solidFill>
                  <a:schemeClr val="accent1"/>
                </a:solidFill>
                <a:latin typeface="Consolas" panose="020B0609020204030204" pitchFamily="49" charset="0"/>
              </a:rPr>
              <a:t>()</a:t>
            </a:r>
            <a:r>
              <a:rPr lang="en-GB" sz="1400" dirty="0"/>
              <a:t> method to determine the following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of launches on each sit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each orbi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landing outcome per orbit 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lvl="2"/>
            <a:endParaRPr lang="en-GB" sz="110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1ED317-E674-0600-026B-95EC77EFAC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1094258" y="4585609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E3B3CB-D324-9E13-144D-18D4D1F058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807" y="34975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957272-11A5-77B6-7047-DC5E46C40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069" y="1790816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9767250-8BB5-8A15-12CA-E4B1E03FB4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18B11FE-3D12-6C83-2423-D0F4D3396FF4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EBA0445-004D-3939-81AE-DEF70BD350DC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593E846-E902-9438-E11F-07F921472DE0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BEBA29-4DB0-669C-6166-8ED81CBE878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86830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31A02-C697-A2F2-85B5-8AFB366C2002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DATA MANIPULATION/WRANGLING – </a:t>
            </a:r>
            <a:r>
              <a:rPr lang="en-US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85FC65-FCB4-F89C-76DE-F6226CCCB181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7419379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sz="160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/>
              <a:t>The landing outcome is shown in the </a:t>
            </a:r>
            <a:r>
              <a:rPr lang="en-GB" sz="140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400"/>
              <a:t> column: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200"/>
              <a:t>–  the mission outcome was successfully  landed to a specific region of the ocean 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200"/>
              <a:t>– the mission outcome was unsuccessfully landed to a specific region of the ocean. 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200"/>
              <a:t>–  the mission outcome was successfully  landed to a ground pad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200"/>
              <a:t>– the mission outcome was unsuccessfully landed to a ground pad.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200"/>
              <a:t>– the mission outcome was successfully  landed to a drone ship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200"/>
              <a:t> – the mission outcome was unsuccessfully landed to a drone ship. </a:t>
            </a:r>
          </a:p>
          <a:p>
            <a:pPr marL="520700" lvl="1" indent="-342900"/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200"/>
              <a:t>and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None None </a:t>
            </a:r>
            <a:r>
              <a:rPr lang="en-GB" sz="1200"/>
              <a:t>– these represent a failure to land.</a:t>
            </a:r>
          </a:p>
          <a:p>
            <a:pPr marL="520700" lvl="1" indent="-342900"/>
            <a:endParaRPr lang="en-GB" sz="1200"/>
          </a:p>
          <a:p>
            <a:pPr lvl="1"/>
            <a:r>
              <a:rPr lang="en-GB" sz="1600"/>
              <a:t>Data Wrangl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This is done by: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/>
              <a:t>Defining a set of unsuccessful (bad) outcomes,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/>
              <a:t>Creating a list,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/>
              <a:t>, where the element is 0 if the corresponding  row  in 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200"/>
              <a:t>is in the set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200"/>
              <a:t>, otherwise, it’s 1.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/>
              <a:t>Create a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200"/>
              <a:t> column that  contains the values from the list </a:t>
            </a:r>
            <a:r>
              <a:rPr lang="en-GB" sz="1200">
                <a:solidFill>
                  <a:srgbClr val="61AFEF"/>
                </a:solidFill>
                <a:latin typeface="Consolas" panose="020B0609020204030204" pitchFamily="49" charset="0"/>
              </a:rPr>
              <a:t>landing_class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/>
              <a:t>Export the DataFrame as a .csv file.</a:t>
            </a:r>
            <a:endParaRPr lang="en-GB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F04639-56AB-E583-B177-DC4CD231BC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4F21FEC-7CAB-C5B3-8945-48180E3D00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90121B-15B8-4398-A522-4FA39138DA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4C4988-563D-867B-583F-7915854FC2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03E8AD3-789D-767E-9AC8-88BC5490FB33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74B5F22-DD19-5C40-58B1-D5E56F576B87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5A3591B-4E47-A37C-6831-502A98FC235E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14F4B88-ECED-0E46-6AC7-AB5FB19DD0D9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3AA993-CD63-5E9C-F463-68525C2C0254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510425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3708</Words>
  <Application>Microsoft Office PowerPoint</Application>
  <PresentationFormat>Widescreen</PresentationFormat>
  <Paragraphs>494</Paragraphs>
  <Slides>4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3" baseType="lpstr">
      <vt:lpstr>Arial</vt:lpstr>
      <vt:lpstr>Calibri</vt:lpstr>
      <vt:lpstr>Calibri Light</vt:lpstr>
      <vt:lpstr>Cambria Math</vt:lpstr>
      <vt:lpstr>Consolas</vt:lpstr>
      <vt:lpstr>Ubuntu</vt:lpstr>
      <vt:lpstr>Office Theme</vt:lpstr>
      <vt:lpstr>IBM Data Science Capstone Project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Data Science Capstone Project</dc:title>
  <dc:creator>Naklan Julien Camara</dc:creator>
  <cp:lastModifiedBy>Naklan Julien Camara</cp:lastModifiedBy>
  <cp:revision>18</cp:revision>
  <dcterms:created xsi:type="dcterms:W3CDTF">2023-08-21T02:24:28Z</dcterms:created>
  <dcterms:modified xsi:type="dcterms:W3CDTF">2023-08-21T02:42:06Z</dcterms:modified>
</cp:coreProperties>
</file>